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40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67C52"/>
    <a:srgbClr val="42210B"/>
    <a:srgbClr val="603813"/>
    <a:srgbClr val="754C24"/>
    <a:srgbClr val="C69C6D"/>
    <a:srgbClr val="F9F5F1"/>
    <a:srgbClr val="F8F3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62" autoAdjust="0"/>
    <p:restoredTop sz="94660"/>
  </p:normalViewPr>
  <p:slideViewPr>
    <p:cSldViewPr snapToGrid="0" showGuides="1">
      <p:cViewPr varScale="1">
        <p:scale>
          <a:sx n="113" d="100"/>
          <a:sy n="113" d="100"/>
        </p:scale>
        <p:origin x="876" y="84"/>
      </p:cViewPr>
      <p:guideLst>
        <p:guide orient="horz" pos="2160"/>
        <p:guide pos="240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7CBE5-265A-797A-B347-B55D1327B3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5B611E-AE90-5EEC-8690-01F5190843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EA8956-E855-1498-0277-E5A826B00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8CC2A-4B9C-4B06-A695-ED894AA2AF4C}" type="datetimeFigureOut">
              <a:rPr lang="en-IN" smtClean="0"/>
              <a:t>17-05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5FD4E8-95F5-8BA0-8008-228F40FBEC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10A1C6-A39B-FA20-9B13-6AC1A592D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6557D-CA1F-43D2-AD34-1EC42690A5C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81934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79053D-0814-C10F-41D7-27E34FCE2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8FF4F1-E0DC-A68C-13B6-EE31074491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30A997-3FE8-4403-1F5F-27F78E785B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8CC2A-4B9C-4B06-A695-ED894AA2AF4C}" type="datetimeFigureOut">
              <a:rPr lang="en-IN" smtClean="0"/>
              <a:t>17-05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FDC276-D728-C032-DAD3-CDFF2869A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505419-227E-2D50-14CB-970D012F1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6557D-CA1F-43D2-AD34-1EC42690A5C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9727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5D75259-6BE7-C809-4CB0-86577FCCAEA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9FE76F4-A3CC-2919-3D73-64AE3C19E3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CB39F6-F8B4-2720-12D3-1A1116143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8CC2A-4B9C-4B06-A695-ED894AA2AF4C}" type="datetimeFigureOut">
              <a:rPr lang="en-IN" smtClean="0"/>
              <a:t>17-05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B547AB-2B7E-94F8-F287-3F26DDFB6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81931F-5D2A-2506-5EE2-402DBCB43F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6557D-CA1F-43D2-AD34-1EC42690A5C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981672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A6634A-46D4-DA43-A3D2-B10EFA18B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714FAB-383D-85B5-3E03-06B59EEB8E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6CBE37-BBF9-1094-718F-435D000E7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8CC2A-4B9C-4B06-A695-ED894AA2AF4C}" type="datetimeFigureOut">
              <a:rPr lang="en-IN" smtClean="0"/>
              <a:t>17-05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E93E67-1801-0CA2-AFF0-6D87BF4FB0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3D38DA-D9BC-4D67-2C85-564D0A4B1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6557D-CA1F-43D2-AD34-1EC42690A5C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53691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87A865-D9E5-D3F5-1EC0-CE49D7336F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30328F-C46F-CD03-D7AD-E65F496A12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9946CA-278E-E2AC-2821-2FBD00AF75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8CC2A-4B9C-4B06-A695-ED894AA2AF4C}" type="datetimeFigureOut">
              <a:rPr lang="en-IN" smtClean="0"/>
              <a:t>17-05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D81E66-6C35-76F8-50F9-BE3D7CC356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DF74AA-E5F6-0C62-9814-F1D2E561EC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6557D-CA1F-43D2-AD34-1EC42690A5C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7284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A0A2C-6CE0-51A5-54DB-17997EEE6A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A62F4D-31E2-0336-53A8-082532E954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85EAAB-5557-BB5F-468D-3323FEE048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889BAC-A614-D901-B7DD-E52D11362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8CC2A-4B9C-4B06-A695-ED894AA2AF4C}" type="datetimeFigureOut">
              <a:rPr lang="en-IN" smtClean="0"/>
              <a:t>17-05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367176-9942-38E8-A68F-79941C0EE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A6091A-65BC-0C54-33F6-4B6007A7E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6557D-CA1F-43D2-AD34-1EC42690A5C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62383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54BFD4-6802-8A51-C712-9B5195B9B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4F5710-BA4F-9C04-B7B5-728F215F74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6553E8-F016-0735-5DA8-03EC69AA3F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37AFED-34FB-054E-2959-B162D9C4D8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843EC43-A33D-F5C3-13B8-06081C837E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EE6466-F720-19A0-E200-A7D02F31C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8CC2A-4B9C-4B06-A695-ED894AA2AF4C}" type="datetimeFigureOut">
              <a:rPr lang="en-IN" smtClean="0"/>
              <a:t>17-05-2022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52339C-38C0-B3DB-295B-1D3C81162D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BFA7399-1CEE-0C74-9AD7-C18CACA52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6557D-CA1F-43D2-AD34-1EC42690A5C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969064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3B9C3-E8E7-F158-1674-08F347597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D0715E-33B9-B286-DBAF-D71305D815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8CC2A-4B9C-4B06-A695-ED894AA2AF4C}" type="datetimeFigureOut">
              <a:rPr lang="en-IN" smtClean="0"/>
              <a:t>17-05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46DE06-2405-96BE-D12A-CF9C7CBA4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C012A-8ECC-5316-4772-CD1FF4A792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6557D-CA1F-43D2-AD34-1EC42690A5C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07961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1F99C08-1659-6767-21B3-E4FBDC6662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8CC2A-4B9C-4B06-A695-ED894AA2AF4C}" type="datetimeFigureOut">
              <a:rPr lang="en-IN" smtClean="0"/>
              <a:t>17-05-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E343BF-19D5-46DA-938F-931430142C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811853-6364-0C4D-91FE-154BA09F84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6557D-CA1F-43D2-AD34-1EC42690A5CE}" type="slidenum">
              <a:rPr lang="en-IN" smtClean="0"/>
              <a:t>‹#›</a:t>
            </a:fld>
            <a:endParaRPr lang="en-IN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38D2B44-09B0-DCBA-BD15-58A36F3C658D}"/>
              </a:ext>
            </a:extLst>
          </p:cNvPr>
          <p:cNvSpPr txBox="1">
            <a:spLocks/>
          </p:cNvSpPr>
          <p:nvPr userDrawn="1"/>
        </p:nvSpPr>
        <p:spPr>
          <a:xfrm>
            <a:off x="8929777" y="6538912"/>
            <a:ext cx="33925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Economica" panose="02000506040000020004" pitchFamily="2" charset="0"/>
              </a:rPr>
              <a:t>www.youtube.com/powerupwithpowerpoint</a:t>
            </a:r>
            <a:endParaRPr lang="en-IN" sz="1600" b="1" dirty="0">
              <a:solidFill>
                <a:schemeClr val="tx1">
                  <a:lumMod val="65000"/>
                  <a:lumOff val="35000"/>
                </a:schemeClr>
              </a:solidFill>
              <a:latin typeface="Economica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3543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C8CD18-F129-BB62-AAC4-1BBBE17EC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FEA652-BD51-0C9F-9747-20864C2EBC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FF1574-D777-D8CB-8347-FAC3C5AB15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C9F262-8313-AA59-1FDF-BA7F7A4074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8CC2A-4B9C-4B06-A695-ED894AA2AF4C}" type="datetimeFigureOut">
              <a:rPr lang="en-IN" smtClean="0"/>
              <a:t>17-05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C1C8B3-8B9D-6690-641B-536A9D755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5C9387-CD7F-2231-A602-26AF24085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6557D-CA1F-43D2-AD34-1EC42690A5C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265514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FD6B4-EB7C-225E-88AD-044137DBD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637951-F1FC-4186-7E30-03434F9A359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70C547-781A-1D9D-1862-0E0544F78A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813657-CA7B-6BD4-127A-0808D1328A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8CC2A-4B9C-4B06-A695-ED894AA2AF4C}" type="datetimeFigureOut">
              <a:rPr lang="en-IN" smtClean="0"/>
              <a:t>17-05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95F533-9390-B84C-F760-778E3D88A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528FD7-CEEF-A598-F662-0F03EAE90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6557D-CA1F-43D2-AD34-1EC42690A5C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98373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284E31-036D-E39A-800D-42E9D0B12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4BBDEC-4664-98BC-A3FC-8C029A93D2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B3C6F-DE5E-D8D0-3801-FEAB0E42A4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58CC2A-4B9C-4B06-A695-ED894AA2AF4C}" type="datetimeFigureOut">
              <a:rPr lang="en-IN" smtClean="0"/>
              <a:t>17-05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17D20-F415-286D-4606-9684AA6488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B0CD76-864D-9525-EA24-ECE14C66E6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C6557D-CA1F-43D2-AD34-1EC42690A5C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98214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png"/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svg"/><Relationship Id="rId11" Type="http://schemas.openxmlformats.org/officeDocument/2006/relationships/image" Target="../media/image7.png"/><Relationship Id="rId5" Type="http://schemas.openxmlformats.org/officeDocument/2006/relationships/image" Target="../media/image1.png"/><Relationship Id="rId10" Type="http://schemas.openxmlformats.org/officeDocument/2006/relationships/image" Target="../media/image6.sv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.png"/><Relationship Id="rId14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98CE9AA6-99B4-095E-8E44-B9E780A3462E}"/>
              </a:ext>
            </a:extLst>
          </p:cNvPr>
          <p:cNvSpPr/>
          <p:nvPr/>
        </p:nvSpPr>
        <p:spPr>
          <a:xfrm>
            <a:off x="3810001" y="966388"/>
            <a:ext cx="1415731" cy="1300460"/>
          </a:xfrm>
          <a:custGeom>
            <a:avLst/>
            <a:gdLst>
              <a:gd name="connsiteX0" fmla="*/ 0 w 1415731"/>
              <a:gd name="connsiteY0" fmla="*/ 0 h 1300460"/>
              <a:gd name="connsiteX1" fmla="*/ 1376871 w 1415731"/>
              <a:gd name="connsiteY1" fmla="*/ 420576 h 1300460"/>
              <a:gd name="connsiteX2" fmla="*/ 1415731 w 1415731"/>
              <a:gd name="connsiteY2" fmla="*/ 449635 h 1300460"/>
              <a:gd name="connsiteX3" fmla="*/ 797571 w 1415731"/>
              <a:gd name="connsiteY3" fmla="*/ 1300460 h 1300460"/>
              <a:gd name="connsiteX4" fmla="*/ 788280 w 1415731"/>
              <a:gd name="connsiteY4" fmla="*/ 1293512 h 1300460"/>
              <a:gd name="connsiteX5" fmla="*/ 144152 w 1415731"/>
              <a:gd name="connsiteY5" fmla="*/ 1060004 h 1300460"/>
              <a:gd name="connsiteX6" fmla="*/ 0 w 1415731"/>
              <a:gd name="connsiteY6" fmla="*/ 1052725 h 1300460"/>
              <a:gd name="connsiteX7" fmla="*/ 0 w 1415731"/>
              <a:gd name="connsiteY7" fmla="*/ 0 h 1300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15731" h="1300460">
                <a:moveTo>
                  <a:pt x="0" y="0"/>
                </a:moveTo>
                <a:cubicBezTo>
                  <a:pt x="510024" y="0"/>
                  <a:pt x="983835" y="155046"/>
                  <a:pt x="1376871" y="420576"/>
                </a:cubicBezTo>
                <a:lnTo>
                  <a:pt x="1415731" y="449635"/>
                </a:lnTo>
                <a:lnTo>
                  <a:pt x="797571" y="1300460"/>
                </a:lnTo>
                <a:lnTo>
                  <a:pt x="788280" y="1293512"/>
                </a:lnTo>
                <a:cubicBezTo>
                  <a:pt x="600764" y="1166828"/>
                  <a:pt x="381133" y="1084071"/>
                  <a:pt x="144152" y="1060004"/>
                </a:cubicBezTo>
                <a:lnTo>
                  <a:pt x="0" y="105272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7000">
                <a:schemeClr val="bg1">
                  <a:lumMod val="95000"/>
                </a:schemeClr>
              </a:gs>
              <a:gs pos="95000">
                <a:schemeClr val="bg1">
                  <a:lumMod val="85000"/>
                </a:schemeClr>
              </a:gs>
            </a:gsLst>
            <a:lin ang="2700000" scaled="1"/>
            <a:tileRect/>
          </a:gradFill>
          <a:ln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3F983645-5FCD-FEED-3DF5-CCAE972C1D70}"/>
              </a:ext>
            </a:extLst>
          </p:cNvPr>
          <p:cNvSpPr/>
          <p:nvPr/>
        </p:nvSpPr>
        <p:spPr>
          <a:xfrm>
            <a:off x="4682163" y="1471801"/>
            <a:ext cx="1453474" cy="1478365"/>
          </a:xfrm>
          <a:custGeom>
            <a:avLst/>
            <a:gdLst>
              <a:gd name="connsiteX0" fmla="*/ 618161 w 1453474"/>
              <a:gd name="connsiteY0" fmla="*/ 0 h 1478365"/>
              <a:gd name="connsiteX1" fmla="*/ 694288 w 1453474"/>
              <a:gd name="connsiteY1" fmla="*/ 56927 h 1478365"/>
              <a:gd name="connsiteX2" fmla="*/ 1396926 w 1453474"/>
              <a:gd name="connsiteY2" fmla="*/ 998639 h 1478365"/>
              <a:gd name="connsiteX3" fmla="*/ 1453474 w 1453474"/>
              <a:gd name="connsiteY3" fmla="*/ 1153139 h 1478365"/>
              <a:gd name="connsiteX4" fmla="*/ 452532 w 1453474"/>
              <a:gd name="connsiteY4" fmla="*/ 1478365 h 1478365"/>
              <a:gd name="connsiteX5" fmla="*/ 426927 w 1453474"/>
              <a:gd name="connsiteY5" fmla="*/ 1408407 h 1478365"/>
              <a:gd name="connsiteX6" fmla="*/ 24655 w 1453474"/>
              <a:gd name="connsiteY6" fmla="*/ 869262 h 1478365"/>
              <a:gd name="connsiteX7" fmla="*/ 0 w 1453474"/>
              <a:gd name="connsiteY7" fmla="*/ 850826 h 1478365"/>
              <a:gd name="connsiteX8" fmla="*/ 618161 w 1453474"/>
              <a:gd name="connsiteY8" fmla="*/ 0 h 1478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53474" h="1478365">
                <a:moveTo>
                  <a:pt x="618161" y="0"/>
                </a:moveTo>
                <a:lnTo>
                  <a:pt x="694288" y="56927"/>
                </a:lnTo>
                <a:cubicBezTo>
                  <a:pt x="998348" y="307860"/>
                  <a:pt x="1241157" y="630360"/>
                  <a:pt x="1396926" y="998639"/>
                </a:cubicBezTo>
                <a:lnTo>
                  <a:pt x="1453474" y="1153139"/>
                </a:lnTo>
                <a:lnTo>
                  <a:pt x="452532" y="1478365"/>
                </a:lnTo>
                <a:lnTo>
                  <a:pt x="426927" y="1408407"/>
                </a:lnTo>
                <a:cubicBezTo>
                  <a:pt x="337747" y="1197562"/>
                  <a:pt x="198735" y="1012925"/>
                  <a:pt x="24655" y="869262"/>
                </a:cubicBezTo>
                <a:lnTo>
                  <a:pt x="0" y="850826"/>
                </a:lnTo>
                <a:lnTo>
                  <a:pt x="618161" y="0"/>
                </a:lnTo>
                <a:close/>
              </a:path>
            </a:pathLst>
          </a:custGeom>
          <a:gradFill flip="none" rotWithShape="1">
            <a:gsLst>
              <a:gs pos="17000">
                <a:schemeClr val="bg1">
                  <a:lumMod val="95000"/>
                </a:schemeClr>
              </a:gs>
              <a:gs pos="95000">
                <a:schemeClr val="bg1">
                  <a:lumMod val="85000"/>
                </a:schemeClr>
              </a:gs>
            </a:gsLst>
            <a:lin ang="2700000" scaled="1"/>
            <a:tileRect/>
          </a:gradFill>
          <a:ln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452E2CC0-E2F6-895A-726B-0DE7452EE2B6}"/>
              </a:ext>
            </a:extLst>
          </p:cNvPr>
          <p:cNvSpPr/>
          <p:nvPr/>
        </p:nvSpPr>
        <p:spPr>
          <a:xfrm>
            <a:off x="5163920" y="2712972"/>
            <a:ext cx="1108693" cy="1430034"/>
          </a:xfrm>
          <a:custGeom>
            <a:avLst/>
            <a:gdLst>
              <a:gd name="connsiteX0" fmla="*/ 1002165 w 1108693"/>
              <a:gd name="connsiteY0" fmla="*/ 0 h 1430034"/>
              <a:gd name="connsiteX1" fmla="*/ 1058661 w 1108693"/>
              <a:gd name="connsiteY1" fmla="*/ 219725 h 1430034"/>
              <a:gd name="connsiteX2" fmla="*/ 1108693 w 1108693"/>
              <a:gd name="connsiteY2" fmla="*/ 716028 h 1430034"/>
              <a:gd name="connsiteX3" fmla="*/ 1058661 w 1108693"/>
              <a:gd name="connsiteY3" fmla="*/ 1212331 h 1430034"/>
              <a:gd name="connsiteX4" fmla="*/ 1002685 w 1108693"/>
              <a:gd name="connsiteY4" fmla="*/ 1430034 h 1430034"/>
              <a:gd name="connsiteX5" fmla="*/ 520 w 1108693"/>
              <a:gd name="connsiteY5" fmla="*/ 1104411 h 1430034"/>
              <a:gd name="connsiteX6" fmla="*/ 27323 w 1108693"/>
              <a:gd name="connsiteY6" fmla="*/ 1000169 h 1430034"/>
              <a:gd name="connsiteX7" fmla="*/ 55967 w 1108693"/>
              <a:gd name="connsiteY7" fmla="*/ 716028 h 1430034"/>
              <a:gd name="connsiteX8" fmla="*/ 27323 w 1108693"/>
              <a:gd name="connsiteY8" fmla="*/ 431887 h 1430034"/>
              <a:gd name="connsiteX9" fmla="*/ 0 w 1108693"/>
              <a:gd name="connsiteY9" fmla="*/ 325623 h 1430034"/>
              <a:gd name="connsiteX10" fmla="*/ 1002165 w 1108693"/>
              <a:gd name="connsiteY10" fmla="*/ 0 h 143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08693" h="1430034">
                <a:moveTo>
                  <a:pt x="1002165" y="0"/>
                </a:moveTo>
                <a:lnTo>
                  <a:pt x="1058661" y="219725"/>
                </a:lnTo>
                <a:cubicBezTo>
                  <a:pt x="1091466" y="380036"/>
                  <a:pt x="1108693" y="546020"/>
                  <a:pt x="1108693" y="716028"/>
                </a:cubicBezTo>
                <a:cubicBezTo>
                  <a:pt x="1108693" y="886036"/>
                  <a:pt x="1091466" y="1052020"/>
                  <a:pt x="1058661" y="1212331"/>
                </a:cubicBezTo>
                <a:lnTo>
                  <a:pt x="1002685" y="1430034"/>
                </a:lnTo>
                <a:lnTo>
                  <a:pt x="520" y="1104411"/>
                </a:lnTo>
                <a:lnTo>
                  <a:pt x="27323" y="1000169"/>
                </a:lnTo>
                <a:cubicBezTo>
                  <a:pt x="46104" y="908389"/>
                  <a:pt x="55967" y="813361"/>
                  <a:pt x="55967" y="716028"/>
                </a:cubicBezTo>
                <a:cubicBezTo>
                  <a:pt x="55967" y="618696"/>
                  <a:pt x="46104" y="523667"/>
                  <a:pt x="27323" y="431887"/>
                </a:cubicBezTo>
                <a:lnTo>
                  <a:pt x="0" y="325623"/>
                </a:lnTo>
                <a:lnTo>
                  <a:pt x="1002165" y="0"/>
                </a:lnTo>
                <a:close/>
              </a:path>
            </a:pathLst>
          </a:custGeom>
          <a:gradFill flip="none" rotWithShape="1">
            <a:gsLst>
              <a:gs pos="17000">
                <a:schemeClr val="bg1">
                  <a:lumMod val="95000"/>
                </a:schemeClr>
              </a:gs>
              <a:gs pos="95000">
                <a:schemeClr val="bg1">
                  <a:lumMod val="85000"/>
                </a:schemeClr>
              </a:gs>
            </a:gsLst>
            <a:lin ang="2700000" scaled="1"/>
            <a:tileRect/>
          </a:gradFill>
          <a:ln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1E53DAD9-1E3F-5814-04BE-246C0D1B7FE8}"/>
              </a:ext>
            </a:extLst>
          </p:cNvPr>
          <p:cNvSpPr/>
          <p:nvPr/>
        </p:nvSpPr>
        <p:spPr>
          <a:xfrm>
            <a:off x="4676319" y="3905876"/>
            <a:ext cx="1460035" cy="1484694"/>
          </a:xfrm>
          <a:custGeom>
            <a:avLst/>
            <a:gdLst>
              <a:gd name="connsiteX0" fmla="*/ 459093 w 1460035"/>
              <a:gd name="connsiteY0" fmla="*/ 0 h 1484694"/>
              <a:gd name="connsiteX1" fmla="*/ 1460035 w 1460035"/>
              <a:gd name="connsiteY1" fmla="*/ 325226 h 1484694"/>
              <a:gd name="connsiteX2" fmla="*/ 1402770 w 1460035"/>
              <a:gd name="connsiteY2" fmla="*/ 481684 h 1484694"/>
              <a:gd name="connsiteX3" fmla="*/ 700132 w 1460035"/>
              <a:gd name="connsiteY3" fmla="*/ 1423396 h 1484694"/>
              <a:gd name="connsiteX4" fmla="*/ 618160 w 1460035"/>
              <a:gd name="connsiteY4" fmla="*/ 1484694 h 1484694"/>
              <a:gd name="connsiteX5" fmla="*/ 0 w 1460035"/>
              <a:gd name="connsiteY5" fmla="*/ 633869 h 1484694"/>
              <a:gd name="connsiteX6" fmla="*/ 30500 w 1460035"/>
              <a:gd name="connsiteY6" fmla="*/ 611061 h 1484694"/>
              <a:gd name="connsiteX7" fmla="*/ 432772 w 1460035"/>
              <a:gd name="connsiteY7" fmla="*/ 71916 h 1484694"/>
              <a:gd name="connsiteX8" fmla="*/ 459093 w 1460035"/>
              <a:gd name="connsiteY8" fmla="*/ 0 h 1484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0035" h="1484694">
                <a:moveTo>
                  <a:pt x="459093" y="0"/>
                </a:moveTo>
                <a:lnTo>
                  <a:pt x="1460035" y="325226"/>
                </a:lnTo>
                <a:lnTo>
                  <a:pt x="1402770" y="481684"/>
                </a:lnTo>
                <a:cubicBezTo>
                  <a:pt x="1247001" y="849963"/>
                  <a:pt x="1004192" y="1172463"/>
                  <a:pt x="700132" y="1423396"/>
                </a:cubicBezTo>
                <a:lnTo>
                  <a:pt x="618160" y="1484694"/>
                </a:lnTo>
                <a:lnTo>
                  <a:pt x="0" y="633869"/>
                </a:lnTo>
                <a:lnTo>
                  <a:pt x="30500" y="611061"/>
                </a:lnTo>
                <a:cubicBezTo>
                  <a:pt x="204580" y="467398"/>
                  <a:pt x="343592" y="282761"/>
                  <a:pt x="432772" y="71916"/>
                </a:cubicBezTo>
                <a:lnTo>
                  <a:pt x="459093" y="0"/>
                </a:lnTo>
                <a:close/>
              </a:path>
            </a:pathLst>
          </a:custGeom>
          <a:gradFill flip="none" rotWithShape="1">
            <a:gsLst>
              <a:gs pos="17000">
                <a:schemeClr val="bg1">
                  <a:lumMod val="95000"/>
                </a:schemeClr>
              </a:gs>
              <a:gs pos="95000">
                <a:schemeClr val="bg1">
                  <a:lumMod val="85000"/>
                </a:schemeClr>
              </a:gs>
            </a:gsLst>
            <a:lin ang="2700000" scaled="1"/>
            <a:tileRect/>
          </a:gradFill>
          <a:ln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55FB659C-960E-C8B6-6C99-97137CAC69F0}"/>
              </a:ext>
            </a:extLst>
          </p:cNvPr>
          <p:cNvSpPr/>
          <p:nvPr/>
        </p:nvSpPr>
        <p:spPr>
          <a:xfrm>
            <a:off x="3814340" y="4595525"/>
            <a:ext cx="1405547" cy="1295707"/>
          </a:xfrm>
          <a:custGeom>
            <a:avLst/>
            <a:gdLst>
              <a:gd name="connsiteX0" fmla="*/ 787386 w 1405547"/>
              <a:gd name="connsiteY0" fmla="*/ 0 h 1295707"/>
              <a:gd name="connsiteX1" fmla="*/ 1405547 w 1405547"/>
              <a:gd name="connsiteY1" fmla="*/ 850825 h 1295707"/>
              <a:gd name="connsiteX2" fmla="*/ 1372532 w 1405547"/>
              <a:gd name="connsiteY2" fmla="*/ 875513 h 1295707"/>
              <a:gd name="connsiteX3" fmla="*/ 247449 w 1405547"/>
              <a:gd name="connsiteY3" fmla="*/ 1283375 h 1295707"/>
              <a:gd name="connsiteX4" fmla="*/ 3240 w 1405547"/>
              <a:gd name="connsiteY4" fmla="*/ 1295707 h 1295707"/>
              <a:gd name="connsiteX5" fmla="*/ 0 w 1405547"/>
              <a:gd name="connsiteY5" fmla="*/ 243143 h 1295707"/>
              <a:gd name="connsiteX6" fmla="*/ 139813 w 1405547"/>
              <a:gd name="connsiteY6" fmla="*/ 236083 h 1295707"/>
              <a:gd name="connsiteX7" fmla="*/ 783941 w 1405547"/>
              <a:gd name="connsiteY7" fmla="*/ 2575 h 1295707"/>
              <a:gd name="connsiteX8" fmla="*/ 787386 w 1405547"/>
              <a:gd name="connsiteY8" fmla="*/ 0 h 1295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05547" h="1295707">
                <a:moveTo>
                  <a:pt x="787386" y="0"/>
                </a:moveTo>
                <a:lnTo>
                  <a:pt x="1405547" y="850825"/>
                </a:lnTo>
                <a:lnTo>
                  <a:pt x="1372532" y="875513"/>
                </a:lnTo>
                <a:cubicBezTo>
                  <a:pt x="1045002" y="1096788"/>
                  <a:pt x="661378" y="1241338"/>
                  <a:pt x="247449" y="1283375"/>
                </a:cubicBezTo>
                <a:lnTo>
                  <a:pt x="3240" y="1295707"/>
                </a:lnTo>
                <a:lnTo>
                  <a:pt x="0" y="243143"/>
                </a:lnTo>
                <a:lnTo>
                  <a:pt x="139813" y="236083"/>
                </a:lnTo>
                <a:cubicBezTo>
                  <a:pt x="376794" y="212016"/>
                  <a:pt x="596425" y="129259"/>
                  <a:pt x="783941" y="2575"/>
                </a:cubicBezTo>
                <a:lnTo>
                  <a:pt x="787386" y="0"/>
                </a:lnTo>
                <a:close/>
              </a:path>
            </a:pathLst>
          </a:custGeom>
          <a:gradFill flip="none" rotWithShape="1">
            <a:gsLst>
              <a:gs pos="17000">
                <a:schemeClr val="bg1">
                  <a:lumMod val="95000"/>
                </a:schemeClr>
              </a:gs>
              <a:gs pos="95000">
                <a:schemeClr val="bg1">
                  <a:lumMod val="85000"/>
                </a:schemeClr>
              </a:gs>
            </a:gsLst>
            <a:lin ang="2700000" scaled="1"/>
            <a:tileRect/>
          </a:gradFill>
          <a:ln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C837AB89-3250-C6A9-DCDD-37405156F605}"/>
              </a:ext>
            </a:extLst>
          </p:cNvPr>
          <p:cNvSpPr/>
          <p:nvPr/>
        </p:nvSpPr>
        <p:spPr>
          <a:xfrm>
            <a:off x="3810001" y="508002"/>
            <a:ext cx="1684869" cy="908021"/>
          </a:xfrm>
          <a:custGeom>
            <a:avLst/>
            <a:gdLst>
              <a:gd name="connsiteX0" fmla="*/ 0 w 1684869"/>
              <a:gd name="connsiteY0" fmla="*/ 0 h 908021"/>
              <a:gd name="connsiteX1" fmla="*/ 1631732 w 1684869"/>
              <a:gd name="connsiteY1" fmla="*/ 497902 h 908021"/>
              <a:gd name="connsiteX2" fmla="*/ 1684869 w 1684869"/>
              <a:gd name="connsiteY2" fmla="*/ 537584 h 908021"/>
              <a:gd name="connsiteX3" fmla="*/ 1415731 w 1684869"/>
              <a:gd name="connsiteY3" fmla="*/ 908021 h 908021"/>
              <a:gd name="connsiteX4" fmla="*/ 1376871 w 1684869"/>
              <a:gd name="connsiteY4" fmla="*/ 878962 h 908021"/>
              <a:gd name="connsiteX5" fmla="*/ 0 w 1684869"/>
              <a:gd name="connsiteY5" fmla="*/ 458386 h 908021"/>
              <a:gd name="connsiteX6" fmla="*/ 0 w 1684869"/>
              <a:gd name="connsiteY6" fmla="*/ 0 h 908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84869" h="908021">
                <a:moveTo>
                  <a:pt x="0" y="0"/>
                </a:moveTo>
                <a:cubicBezTo>
                  <a:pt x="604301" y="0"/>
                  <a:pt x="1165792" y="183521"/>
                  <a:pt x="1631732" y="497902"/>
                </a:cubicBezTo>
                <a:lnTo>
                  <a:pt x="1684869" y="537584"/>
                </a:lnTo>
                <a:lnTo>
                  <a:pt x="1415731" y="908021"/>
                </a:lnTo>
                <a:lnTo>
                  <a:pt x="1376871" y="878962"/>
                </a:lnTo>
                <a:cubicBezTo>
                  <a:pt x="983835" y="613432"/>
                  <a:pt x="510024" y="458386"/>
                  <a:pt x="0" y="458386"/>
                </a:cubicBezTo>
                <a:lnTo>
                  <a:pt x="0" y="0"/>
                </a:lnTo>
                <a:close/>
              </a:path>
            </a:pathLst>
          </a:custGeom>
          <a:solidFill>
            <a:srgbClr val="C69C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93EA335B-9F1D-6F15-6FE9-502E7EDBFBC7}"/>
              </a:ext>
            </a:extLst>
          </p:cNvPr>
          <p:cNvSpPr/>
          <p:nvPr/>
        </p:nvSpPr>
        <p:spPr>
          <a:xfrm>
            <a:off x="5300325" y="1101316"/>
            <a:ext cx="1271223" cy="1523624"/>
          </a:xfrm>
          <a:custGeom>
            <a:avLst/>
            <a:gdLst>
              <a:gd name="connsiteX0" fmla="*/ 269173 w 1271223"/>
              <a:gd name="connsiteY0" fmla="*/ 0 h 1523624"/>
              <a:gd name="connsiteX1" fmla="*/ 366172 w 1271223"/>
              <a:gd name="connsiteY1" fmla="*/ 72438 h 1523624"/>
              <a:gd name="connsiteX2" fmla="*/ 1199833 w 1271223"/>
              <a:gd name="connsiteY2" fmla="*/ 1187648 h 1523624"/>
              <a:gd name="connsiteX3" fmla="*/ 1271223 w 1271223"/>
              <a:gd name="connsiteY3" fmla="*/ 1381988 h 1523624"/>
              <a:gd name="connsiteX4" fmla="*/ 835313 w 1271223"/>
              <a:gd name="connsiteY4" fmla="*/ 1523624 h 1523624"/>
              <a:gd name="connsiteX5" fmla="*/ 778765 w 1271223"/>
              <a:gd name="connsiteY5" fmla="*/ 1369124 h 1523624"/>
              <a:gd name="connsiteX6" fmla="*/ 76127 w 1271223"/>
              <a:gd name="connsiteY6" fmla="*/ 427412 h 1523624"/>
              <a:gd name="connsiteX7" fmla="*/ 0 w 1271223"/>
              <a:gd name="connsiteY7" fmla="*/ 370485 h 1523624"/>
              <a:gd name="connsiteX8" fmla="*/ 269173 w 1271223"/>
              <a:gd name="connsiteY8" fmla="*/ 0 h 1523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1223" h="1523624">
                <a:moveTo>
                  <a:pt x="269173" y="0"/>
                </a:moveTo>
                <a:lnTo>
                  <a:pt x="366172" y="72438"/>
                </a:lnTo>
                <a:cubicBezTo>
                  <a:pt x="726692" y="369554"/>
                  <a:pt x="1014754" y="751448"/>
                  <a:pt x="1199833" y="1187648"/>
                </a:cubicBezTo>
                <a:lnTo>
                  <a:pt x="1271223" y="1381988"/>
                </a:lnTo>
                <a:lnTo>
                  <a:pt x="835313" y="1523624"/>
                </a:lnTo>
                <a:lnTo>
                  <a:pt x="778765" y="1369124"/>
                </a:lnTo>
                <a:cubicBezTo>
                  <a:pt x="622996" y="1000845"/>
                  <a:pt x="380187" y="678345"/>
                  <a:pt x="76127" y="427412"/>
                </a:cubicBezTo>
                <a:lnTo>
                  <a:pt x="0" y="370485"/>
                </a:lnTo>
                <a:lnTo>
                  <a:pt x="269173" y="0"/>
                </a:lnTo>
                <a:close/>
              </a:path>
            </a:pathLst>
          </a:custGeom>
          <a:solidFill>
            <a:srgbClr val="A67C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7C24424E-6358-ECAA-95FA-64849A13C27F}"/>
              </a:ext>
            </a:extLst>
          </p:cNvPr>
          <p:cNvSpPr/>
          <p:nvPr/>
        </p:nvSpPr>
        <p:spPr>
          <a:xfrm>
            <a:off x="6166085" y="2571240"/>
            <a:ext cx="564914" cy="1713629"/>
          </a:xfrm>
          <a:custGeom>
            <a:avLst/>
            <a:gdLst>
              <a:gd name="connsiteX0" fmla="*/ 436209 w 564914"/>
              <a:gd name="connsiteY0" fmla="*/ 0 h 1713629"/>
              <a:gd name="connsiteX1" fmla="*/ 504782 w 564914"/>
              <a:gd name="connsiteY1" fmla="*/ 265280 h 1713629"/>
              <a:gd name="connsiteX2" fmla="*/ 564911 w 564914"/>
              <a:gd name="connsiteY2" fmla="*/ 853266 h 1713629"/>
              <a:gd name="connsiteX3" fmla="*/ 506593 w 564914"/>
              <a:gd name="connsiteY3" fmla="*/ 1441434 h 1713629"/>
              <a:gd name="connsiteX4" fmla="*/ 437126 w 564914"/>
              <a:gd name="connsiteY4" fmla="*/ 1713629 h 1713629"/>
              <a:gd name="connsiteX5" fmla="*/ 520 w 564914"/>
              <a:gd name="connsiteY5" fmla="*/ 1571767 h 1713629"/>
              <a:gd name="connsiteX6" fmla="*/ 56496 w 564914"/>
              <a:gd name="connsiteY6" fmla="*/ 1354064 h 1713629"/>
              <a:gd name="connsiteX7" fmla="*/ 106528 w 564914"/>
              <a:gd name="connsiteY7" fmla="*/ 857761 h 1713629"/>
              <a:gd name="connsiteX8" fmla="*/ 56496 w 564914"/>
              <a:gd name="connsiteY8" fmla="*/ 361458 h 1713629"/>
              <a:gd name="connsiteX9" fmla="*/ 0 w 564914"/>
              <a:gd name="connsiteY9" fmla="*/ 141733 h 1713629"/>
              <a:gd name="connsiteX10" fmla="*/ 436209 w 564914"/>
              <a:gd name="connsiteY10" fmla="*/ 0 h 1713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4914" h="1713629">
                <a:moveTo>
                  <a:pt x="436209" y="0"/>
                </a:moveTo>
                <a:lnTo>
                  <a:pt x="504782" y="265280"/>
                </a:lnTo>
                <a:cubicBezTo>
                  <a:pt x="543907" y="455188"/>
                  <a:pt x="564601" y="651833"/>
                  <a:pt x="564911" y="853266"/>
                </a:cubicBezTo>
                <a:cubicBezTo>
                  <a:pt x="565221" y="1054699"/>
                  <a:pt x="545133" y="1251407"/>
                  <a:pt x="506593" y="1441434"/>
                </a:cubicBezTo>
                <a:lnTo>
                  <a:pt x="437126" y="1713629"/>
                </a:lnTo>
                <a:lnTo>
                  <a:pt x="520" y="1571767"/>
                </a:lnTo>
                <a:lnTo>
                  <a:pt x="56496" y="1354064"/>
                </a:lnTo>
                <a:cubicBezTo>
                  <a:pt x="89301" y="1193753"/>
                  <a:pt x="106528" y="1027769"/>
                  <a:pt x="106528" y="857761"/>
                </a:cubicBezTo>
                <a:cubicBezTo>
                  <a:pt x="106528" y="687753"/>
                  <a:pt x="89301" y="521769"/>
                  <a:pt x="56496" y="361458"/>
                </a:cubicBezTo>
                <a:lnTo>
                  <a:pt x="0" y="141733"/>
                </a:lnTo>
                <a:lnTo>
                  <a:pt x="436209" y="0"/>
                </a:lnTo>
                <a:close/>
              </a:path>
            </a:pathLst>
          </a:custGeom>
          <a:solidFill>
            <a:srgbClr val="754C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06B0C629-AB0B-C40D-9173-56C2EDA8417F}"/>
              </a:ext>
            </a:extLst>
          </p:cNvPr>
          <p:cNvSpPr/>
          <p:nvPr/>
        </p:nvSpPr>
        <p:spPr>
          <a:xfrm>
            <a:off x="5294480" y="4231102"/>
            <a:ext cx="1277605" cy="1529936"/>
          </a:xfrm>
          <a:custGeom>
            <a:avLst/>
            <a:gdLst>
              <a:gd name="connsiteX0" fmla="*/ 841875 w 1277605"/>
              <a:gd name="connsiteY0" fmla="*/ 0 h 1529936"/>
              <a:gd name="connsiteX1" fmla="*/ 1277605 w 1277605"/>
              <a:gd name="connsiteY1" fmla="*/ 141577 h 1529936"/>
              <a:gd name="connsiteX2" fmla="*/ 1209174 w 1277605"/>
              <a:gd name="connsiteY2" fmla="*/ 329648 h 1529936"/>
              <a:gd name="connsiteX3" fmla="*/ 378950 w 1277605"/>
              <a:gd name="connsiteY3" fmla="*/ 1447419 h 1529936"/>
              <a:gd name="connsiteX4" fmla="*/ 269161 w 1277605"/>
              <a:gd name="connsiteY4" fmla="*/ 1529936 h 1529936"/>
              <a:gd name="connsiteX5" fmla="*/ 0 w 1277605"/>
              <a:gd name="connsiteY5" fmla="*/ 1159468 h 1529936"/>
              <a:gd name="connsiteX6" fmla="*/ 81972 w 1277605"/>
              <a:gd name="connsiteY6" fmla="*/ 1098170 h 1529936"/>
              <a:gd name="connsiteX7" fmla="*/ 784610 w 1277605"/>
              <a:gd name="connsiteY7" fmla="*/ 156458 h 1529936"/>
              <a:gd name="connsiteX8" fmla="*/ 841875 w 1277605"/>
              <a:gd name="connsiteY8" fmla="*/ 0 h 1529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7605" h="1529936">
                <a:moveTo>
                  <a:pt x="841875" y="0"/>
                </a:moveTo>
                <a:lnTo>
                  <a:pt x="1277605" y="141577"/>
                </a:lnTo>
                <a:lnTo>
                  <a:pt x="1209174" y="329648"/>
                </a:lnTo>
                <a:cubicBezTo>
                  <a:pt x="1025438" y="766416"/>
                  <a:pt x="738554" y="1149195"/>
                  <a:pt x="378950" y="1447419"/>
                </a:cubicBezTo>
                <a:lnTo>
                  <a:pt x="269161" y="1529936"/>
                </a:lnTo>
                <a:lnTo>
                  <a:pt x="0" y="1159468"/>
                </a:lnTo>
                <a:lnTo>
                  <a:pt x="81972" y="1098170"/>
                </a:lnTo>
                <a:cubicBezTo>
                  <a:pt x="386032" y="847237"/>
                  <a:pt x="628841" y="524737"/>
                  <a:pt x="784610" y="156458"/>
                </a:cubicBezTo>
                <a:lnTo>
                  <a:pt x="841875" y="0"/>
                </a:lnTo>
                <a:close/>
              </a:path>
            </a:pathLst>
          </a:custGeom>
          <a:solidFill>
            <a:srgbClr val="6038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1B66C411-2DB6-0CB5-E1AE-57D2347EA9D8}"/>
              </a:ext>
            </a:extLst>
          </p:cNvPr>
          <p:cNvSpPr/>
          <p:nvPr/>
        </p:nvSpPr>
        <p:spPr>
          <a:xfrm>
            <a:off x="3817579" y="5446349"/>
            <a:ext cx="1671602" cy="903638"/>
          </a:xfrm>
          <a:custGeom>
            <a:avLst/>
            <a:gdLst>
              <a:gd name="connsiteX0" fmla="*/ 1402307 w 1671602"/>
              <a:gd name="connsiteY0" fmla="*/ 0 h 903638"/>
              <a:gd name="connsiteX1" fmla="*/ 1671602 w 1671602"/>
              <a:gd name="connsiteY1" fmla="*/ 370653 h 903638"/>
              <a:gd name="connsiteX2" fmla="*/ 1631604 w 1671602"/>
              <a:gd name="connsiteY2" fmla="*/ 400715 h 903638"/>
              <a:gd name="connsiteX3" fmla="*/ 1412 w 1671602"/>
              <a:gd name="connsiteY3" fmla="*/ 903638 h 903638"/>
              <a:gd name="connsiteX4" fmla="*/ 0 w 1671602"/>
              <a:gd name="connsiteY4" fmla="*/ 444882 h 903638"/>
              <a:gd name="connsiteX5" fmla="*/ 244209 w 1671602"/>
              <a:gd name="connsiteY5" fmla="*/ 432550 h 903638"/>
              <a:gd name="connsiteX6" fmla="*/ 1369292 w 1671602"/>
              <a:gd name="connsiteY6" fmla="*/ 24688 h 903638"/>
              <a:gd name="connsiteX7" fmla="*/ 1402307 w 1671602"/>
              <a:gd name="connsiteY7" fmla="*/ 0 h 903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71602" h="903638">
                <a:moveTo>
                  <a:pt x="1402307" y="0"/>
                </a:moveTo>
                <a:lnTo>
                  <a:pt x="1671602" y="370653"/>
                </a:lnTo>
                <a:lnTo>
                  <a:pt x="1631604" y="400715"/>
                </a:lnTo>
                <a:cubicBezTo>
                  <a:pt x="1166634" y="716529"/>
                  <a:pt x="605710" y="901778"/>
                  <a:pt x="1412" y="903638"/>
                </a:cubicBezTo>
                <a:lnTo>
                  <a:pt x="0" y="444882"/>
                </a:lnTo>
                <a:lnTo>
                  <a:pt x="244209" y="432550"/>
                </a:lnTo>
                <a:cubicBezTo>
                  <a:pt x="658138" y="390513"/>
                  <a:pt x="1041762" y="245963"/>
                  <a:pt x="1369292" y="24688"/>
                </a:cubicBezTo>
                <a:lnTo>
                  <a:pt x="1402307" y="0"/>
                </a:lnTo>
                <a:close/>
              </a:path>
            </a:pathLst>
          </a:custGeom>
          <a:solidFill>
            <a:srgbClr val="4221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2E4D71AA-E761-7F06-920D-D8FEF6FF974F}"/>
              </a:ext>
            </a:extLst>
          </p:cNvPr>
          <p:cNvSpPr/>
          <p:nvPr/>
        </p:nvSpPr>
        <p:spPr>
          <a:xfrm>
            <a:off x="2486530" y="2104518"/>
            <a:ext cx="2646942" cy="2646942"/>
          </a:xfrm>
          <a:prstGeom prst="ellipse">
            <a:avLst/>
          </a:prstGeom>
          <a:gradFill flip="none" rotWithShape="1">
            <a:gsLst>
              <a:gs pos="17000">
                <a:schemeClr val="bg1">
                  <a:lumMod val="95000"/>
                </a:schemeClr>
              </a:gs>
              <a:gs pos="95000">
                <a:schemeClr val="bg1">
                  <a:lumMod val="85000"/>
                </a:schemeClr>
              </a:gs>
            </a:gsLst>
            <a:lin ang="2700000" scaled="1"/>
            <a:tileRect/>
          </a:gradFill>
          <a:ln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  <a:tileRect/>
            </a:gradFill>
          </a:ln>
          <a:effectLst>
            <a:outerShdw blurRad="139700" dist="76200" dir="2700000" algn="tl" rotWithShape="0">
              <a:prstClr val="black">
                <a:alpha val="2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5FD79E9E-5062-8375-9158-360D71E5DAF6}"/>
              </a:ext>
            </a:extLst>
          </p:cNvPr>
          <p:cNvSpPr/>
          <p:nvPr/>
        </p:nvSpPr>
        <p:spPr>
          <a:xfrm>
            <a:off x="2989287" y="2599697"/>
            <a:ext cx="1656584" cy="1656584"/>
          </a:xfrm>
          <a:prstGeom prst="ellipse">
            <a:avLst/>
          </a:prstGeom>
          <a:solidFill>
            <a:srgbClr val="42210B"/>
          </a:solidFill>
          <a:ln>
            <a:noFill/>
          </a:ln>
          <a:effectLst>
            <a:outerShdw blurRad="152400" sx="102000" sy="102000" algn="ctr" rotWithShape="0">
              <a:prstClr val="black">
                <a:alpha val="5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A681760B-0E36-C6C4-D58B-FACA9A7E2D73}"/>
              </a:ext>
            </a:extLst>
          </p:cNvPr>
          <p:cNvCxnSpPr>
            <a:cxnSpLocks/>
          </p:cNvCxnSpPr>
          <p:nvPr/>
        </p:nvCxnSpPr>
        <p:spPr>
          <a:xfrm>
            <a:off x="6110004" y="5178722"/>
            <a:ext cx="1392856" cy="307120"/>
          </a:xfrm>
          <a:prstGeom prst="bentConnector3">
            <a:avLst/>
          </a:prstGeom>
          <a:ln w="19050">
            <a:solidFill>
              <a:srgbClr val="603813"/>
            </a:solidFill>
            <a:prstDash val="dash"/>
            <a:headEnd type="oval"/>
            <a:tailEnd type="oval"/>
          </a:ln>
          <a:effectLst>
            <a:outerShdw blurRad="63500" sx="102000" sy="102000" algn="ctr" rotWithShape="0">
              <a:prstClr val="black">
                <a:alpha val="57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36ED5FDD-2A54-18AC-762C-901662C7CC45}"/>
              </a:ext>
            </a:extLst>
          </p:cNvPr>
          <p:cNvCxnSpPr>
            <a:cxnSpLocks/>
            <a:stCxn id="57" idx="2"/>
          </p:cNvCxnSpPr>
          <p:nvPr/>
        </p:nvCxnSpPr>
        <p:spPr>
          <a:xfrm>
            <a:off x="6730996" y="3424506"/>
            <a:ext cx="1139456" cy="1301"/>
          </a:xfrm>
          <a:prstGeom prst="line">
            <a:avLst/>
          </a:prstGeom>
          <a:ln w="19050">
            <a:solidFill>
              <a:srgbClr val="754C24"/>
            </a:solidFill>
            <a:prstDash val="dash"/>
            <a:headEnd type="oval"/>
            <a:tailEnd type="oval"/>
          </a:ln>
          <a:effectLst>
            <a:outerShdw blurRad="63500" sx="102000" sy="102000" algn="ctr" rotWithShape="0">
              <a:prstClr val="black">
                <a:alpha val="57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ear">
            <a:extLst>
              <a:ext uri="{FF2B5EF4-FFF2-40B4-BE49-F238E27FC236}">
                <a16:creationId xmlns:a16="http://schemas.microsoft.com/office/drawing/2014/main" id="{D52926A1-688E-4E30-BE61-B4B26E86E65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399560" y="3019885"/>
            <a:ext cx="820880" cy="822602"/>
            <a:chOff x="8" y="8"/>
            <a:chExt cx="477" cy="478"/>
          </a:xfrm>
          <a:solidFill>
            <a:srgbClr val="C69C6D"/>
          </a:solidFill>
        </p:grpSpPr>
        <p:sp>
          <p:nvSpPr>
            <p:cNvPr id="87" name="Gear">
              <a:extLst>
                <a:ext uri="{FF2B5EF4-FFF2-40B4-BE49-F238E27FC236}">
                  <a16:creationId xmlns:a16="http://schemas.microsoft.com/office/drawing/2014/main" id="{1F47E9D9-1A6A-8D67-22D0-D2EF20E39C22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8" y="8"/>
              <a:ext cx="477" cy="478"/>
            </a:xfrm>
            <a:custGeom>
              <a:avLst/>
              <a:gdLst>
                <a:gd name="T0" fmla="*/ 1103 w 1223"/>
                <a:gd name="T1" fmla="*/ 249 h 1223"/>
                <a:gd name="T2" fmla="*/ 973 w 1223"/>
                <a:gd name="T3" fmla="*/ 119 h 1223"/>
                <a:gd name="T4" fmla="*/ 853 w 1223"/>
                <a:gd name="T5" fmla="*/ 220 h 1223"/>
                <a:gd name="T6" fmla="*/ 745 w 1223"/>
                <a:gd name="T7" fmla="*/ 171 h 1223"/>
                <a:gd name="T8" fmla="*/ 708 w 1223"/>
                <a:gd name="T9" fmla="*/ 8 h 1223"/>
                <a:gd name="T10" fmla="*/ 611 w 1223"/>
                <a:gd name="T11" fmla="*/ 0 h 1223"/>
                <a:gd name="T12" fmla="*/ 524 w 1223"/>
                <a:gd name="T13" fmla="*/ 6 h 1223"/>
                <a:gd name="T14" fmla="*/ 484 w 1223"/>
                <a:gd name="T15" fmla="*/ 170 h 1223"/>
                <a:gd name="T16" fmla="*/ 417 w 1223"/>
                <a:gd name="T17" fmla="*/ 195 h 1223"/>
                <a:gd name="T18" fmla="*/ 250 w 1223"/>
                <a:gd name="T19" fmla="*/ 121 h 1223"/>
                <a:gd name="T20" fmla="*/ 220 w 1223"/>
                <a:gd name="T21" fmla="*/ 141 h 1223"/>
                <a:gd name="T22" fmla="*/ 120 w 1223"/>
                <a:gd name="T23" fmla="*/ 249 h 1223"/>
                <a:gd name="T24" fmla="*/ 220 w 1223"/>
                <a:gd name="T25" fmla="*/ 370 h 1223"/>
                <a:gd name="T26" fmla="*/ 172 w 1223"/>
                <a:gd name="T27" fmla="*/ 478 h 1223"/>
                <a:gd name="T28" fmla="*/ 165 w 1223"/>
                <a:gd name="T29" fmla="*/ 505 h 1223"/>
                <a:gd name="T30" fmla="*/ 0 w 1223"/>
                <a:gd name="T31" fmla="*/ 594 h 1223"/>
                <a:gd name="T32" fmla="*/ 165 w 1223"/>
                <a:gd name="T33" fmla="*/ 717 h 1223"/>
                <a:gd name="T34" fmla="*/ 195 w 1223"/>
                <a:gd name="T35" fmla="*/ 806 h 1223"/>
                <a:gd name="T36" fmla="*/ 125 w 1223"/>
                <a:gd name="T37" fmla="*/ 978 h 1223"/>
                <a:gd name="T38" fmla="*/ 255 w 1223"/>
                <a:gd name="T39" fmla="*/ 1106 h 1223"/>
                <a:gd name="T40" fmla="*/ 375 w 1223"/>
                <a:gd name="T41" fmla="*/ 1005 h 1223"/>
                <a:gd name="T42" fmla="*/ 484 w 1223"/>
                <a:gd name="T43" fmla="*/ 1053 h 1223"/>
                <a:gd name="T44" fmla="*/ 524 w 1223"/>
                <a:gd name="T45" fmla="*/ 1216 h 1223"/>
                <a:gd name="T46" fmla="*/ 629 w 1223"/>
                <a:gd name="T47" fmla="*/ 1223 h 1223"/>
                <a:gd name="T48" fmla="*/ 723 w 1223"/>
                <a:gd name="T49" fmla="*/ 1056 h 1223"/>
                <a:gd name="T50" fmla="*/ 806 w 1223"/>
                <a:gd name="T51" fmla="*/ 1028 h 1223"/>
                <a:gd name="T52" fmla="*/ 859 w 1223"/>
                <a:gd name="T53" fmla="*/ 1001 h 1223"/>
                <a:gd name="T54" fmla="*/ 1003 w 1223"/>
                <a:gd name="T55" fmla="*/ 1084 h 1223"/>
                <a:gd name="T56" fmla="*/ 1107 w 1223"/>
                <a:gd name="T57" fmla="*/ 969 h 1223"/>
                <a:gd name="T58" fmla="*/ 1006 w 1223"/>
                <a:gd name="T59" fmla="*/ 846 h 1223"/>
                <a:gd name="T60" fmla="*/ 1051 w 1223"/>
                <a:gd name="T61" fmla="*/ 746 h 1223"/>
                <a:gd name="T62" fmla="*/ 1059 w 1223"/>
                <a:gd name="T63" fmla="*/ 719 h 1223"/>
                <a:gd name="T64" fmla="*/ 1223 w 1223"/>
                <a:gd name="T65" fmla="*/ 630 h 1223"/>
                <a:gd name="T66" fmla="*/ 1223 w 1223"/>
                <a:gd name="T67" fmla="*/ 593 h 1223"/>
                <a:gd name="T68" fmla="*/ 1059 w 1223"/>
                <a:gd name="T69" fmla="*/ 504 h 1223"/>
                <a:gd name="T70" fmla="*/ 1029 w 1223"/>
                <a:gd name="T71" fmla="*/ 418 h 1223"/>
                <a:gd name="T72" fmla="*/ 615 w 1223"/>
                <a:gd name="T73" fmla="*/ 385 h 1223"/>
                <a:gd name="T74" fmla="*/ 839 w 1223"/>
                <a:gd name="T75" fmla="*/ 609 h 1223"/>
                <a:gd name="T76" fmla="*/ 615 w 1223"/>
                <a:gd name="T77" fmla="*/ 833 h 1223"/>
                <a:gd name="T78" fmla="*/ 390 w 1223"/>
                <a:gd name="T79" fmla="*/ 609 h 1223"/>
                <a:gd name="T80" fmla="*/ 615 w 1223"/>
                <a:gd name="T81" fmla="*/ 385 h 1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23" h="1223">
                  <a:moveTo>
                    <a:pt x="1004" y="373"/>
                  </a:moveTo>
                  <a:cubicBezTo>
                    <a:pt x="1036" y="331"/>
                    <a:pt x="1070" y="291"/>
                    <a:pt x="1103" y="249"/>
                  </a:cubicBezTo>
                  <a:lnTo>
                    <a:pt x="1104" y="247"/>
                  </a:lnTo>
                  <a:cubicBezTo>
                    <a:pt x="1068" y="199"/>
                    <a:pt x="1024" y="156"/>
                    <a:pt x="973" y="119"/>
                  </a:cubicBezTo>
                  <a:lnTo>
                    <a:pt x="973" y="120"/>
                  </a:lnTo>
                  <a:cubicBezTo>
                    <a:pt x="931" y="153"/>
                    <a:pt x="891" y="186"/>
                    <a:pt x="853" y="220"/>
                  </a:cubicBezTo>
                  <a:cubicBezTo>
                    <a:pt x="836" y="210"/>
                    <a:pt x="821" y="201"/>
                    <a:pt x="805" y="195"/>
                  </a:cubicBezTo>
                  <a:cubicBezTo>
                    <a:pt x="786" y="185"/>
                    <a:pt x="766" y="178"/>
                    <a:pt x="745" y="171"/>
                  </a:cubicBezTo>
                  <a:cubicBezTo>
                    <a:pt x="737" y="169"/>
                    <a:pt x="730" y="168"/>
                    <a:pt x="722" y="165"/>
                  </a:cubicBezTo>
                  <a:cubicBezTo>
                    <a:pt x="719" y="113"/>
                    <a:pt x="713" y="60"/>
                    <a:pt x="708" y="8"/>
                  </a:cubicBezTo>
                  <a:cubicBezTo>
                    <a:pt x="683" y="4"/>
                    <a:pt x="656" y="1"/>
                    <a:pt x="631" y="0"/>
                  </a:cubicBezTo>
                  <a:lnTo>
                    <a:pt x="611" y="0"/>
                  </a:lnTo>
                  <a:lnTo>
                    <a:pt x="591" y="0"/>
                  </a:lnTo>
                  <a:cubicBezTo>
                    <a:pt x="569" y="1"/>
                    <a:pt x="546" y="3"/>
                    <a:pt x="524" y="6"/>
                  </a:cubicBezTo>
                  <a:lnTo>
                    <a:pt x="509" y="164"/>
                  </a:lnTo>
                  <a:cubicBezTo>
                    <a:pt x="500" y="165"/>
                    <a:pt x="491" y="168"/>
                    <a:pt x="484" y="170"/>
                  </a:cubicBezTo>
                  <a:cubicBezTo>
                    <a:pt x="481" y="170"/>
                    <a:pt x="479" y="171"/>
                    <a:pt x="476" y="171"/>
                  </a:cubicBezTo>
                  <a:cubicBezTo>
                    <a:pt x="456" y="178"/>
                    <a:pt x="436" y="185"/>
                    <a:pt x="417" y="195"/>
                  </a:cubicBezTo>
                  <a:cubicBezTo>
                    <a:pt x="401" y="201"/>
                    <a:pt x="386" y="210"/>
                    <a:pt x="371" y="220"/>
                  </a:cubicBezTo>
                  <a:cubicBezTo>
                    <a:pt x="331" y="186"/>
                    <a:pt x="291" y="154"/>
                    <a:pt x="250" y="121"/>
                  </a:cubicBezTo>
                  <a:lnTo>
                    <a:pt x="247" y="119"/>
                  </a:lnTo>
                  <a:cubicBezTo>
                    <a:pt x="239" y="126"/>
                    <a:pt x="229" y="134"/>
                    <a:pt x="220" y="141"/>
                  </a:cubicBezTo>
                  <a:cubicBezTo>
                    <a:pt x="205" y="154"/>
                    <a:pt x="191" y="166"/>
                    <a:pt x="177" y="181"/>
                  </a:cubicBezTo>
                  <a:cubicBezTo>
                    <a:pt x="156" y="201"/>
                    <a:pt x="137" y="225"/>
                    <a:pt x="120" y="249"/>
                  </a:cubicBezTo>
                  <a:cubicBezTo>
                    <a:pt x="120" y="250"/>
                    <a:pt x="120" y="250"/>
                    <a:pt x="121" y="250"/>
                  </a:cubicBezTo>
                  <a:cubicBezTo>
                    <a:pt x="154" y="291"/>
                    <a:pt x="186" y="331"/>
                    <a:pt x="220" y="370"/>
                  </a:cubicBezTo>
                  <a:cubicBezTo>
                    <a:pt x="211" y="385"/>
                    <a:pt x="202" y="401"/>
                    <a:pt x="195" y="416"/>
                  </a:cubicBezTo>
                  <a:cubicBezTo>
                    <a:pt x="186" y="436"/>
                    <a:pt x="177" y="456"/>
                    <a:pt x="172" y="478"/>
                  </a:cubicBezTo>
                  <a:cubicBezTo>
                    <a:pt x="171" y="478"/>
                    <a:pt x="171" y="478"/>
                    <a:pt x="171" y="479"/>
                  </a:cubicBezTo>
                  <a:cubicBezTo>
                    <a:pt x="169" y="486"/>
                    <a:pt x="166" y="495"/>
                    <a:pt x="165" y="505"/>
                  </a:cubicBezTo>
                  <a:cubicBezTo>
                    <a:pt x="111" y="509"/>
                    <a:pt x="59" y="514"/>
                    <a:pt x="6" y="520"/>
                  </a:cubicBezTo>
                  <a:cubicBezTo>
                    <a:pt x="4" y="544"/>
                    <a:pt x="1" y="569"/>
                    <a:pt x="0" y="594"/>
                  </a:cubicBezTo>
                  <a:cubicBezTo>
                    <a:pt x="1" y="631"/>
                    <a:pt x="4" y="667"/>
                    <a:pt x="10" y="703"/>
                  </a:cubicBezTo>
                  <a:cubicBezTo>
                    <a:pt x="61" y="709"/>
                    <a:pt x="113" y="714"/>
                    <a:pt x="165" y="717"/>
                  </a:cubicBezTo>
                  <a:cubicBezTo>
                    <a:pt x="166" y="726"/>
                    <a:pt x="169" y="735"/>
                    <a:pt x="171" y="744"/>
                  </a:cubicBezTo>
                  <a:cubicBezTo>
                    <a:pt x="178" y="765"/>
                    <a:pt x="186" y="786"/>
                    <a:pt x="195" y="806"/>
                  </a:cubicBezTo>
                  <a:cubicBezTo>
                    <a:pt x="204" y="823"/>
                    <a:pt x="211" y="840"/>
                    <a:pt x="223" y="856"/>
                  </a:cubicBezTo>
                  <a:cubicBezTo>
                    <a:pt x="190" y="896"/>
                    <a:pt x="156" y="936"/>
                    <a:pt x="125" y="978"/>
                  </a:cubicBezTo>
                  <a:cubicBezTo>
                    <a:pt x="161" y="1028"/>
                    <a:pt x="204" y="1071"/>
                    <a:pt x="254" y="1106"/>
                  </a:cubicBezTo>
                  <a:lnTo>
                    <a:pt x="255" y="1106"/>
                  </a:lnTo>
                  <a:cubicBezTo>
                    <a:pt x="295" y="1073"/>
                    <a:pt x="335" y="1040"/>
                    <a:pt x="375" y="1006"/>
                  </a:cubicBezTo>
                  <a:lnTo>
                    <a:pt x="375" y="1005"/>
                  </a:lnTo>
                  <a:cubicBezTo>
                    <a:pt x="389" y="1014"/>
                    <a:pt x="401" y="1021"/>
                    <a:pt x="416" y="1028"/>
                  </a:cubicBezTo>
                  <a:cubicBezTo>
                    <a:pt x="439" y="1038"/>
                    <a:pt x="461" y="1046"/>
                    <a:pt x="484" y="1053"/>
                  </a:cubicBezTo>
                  <a:cubicBezTo>
                    <a:pt x="493" y="1055"/>
                    <a:pt x="500" y="1057"/>
                    <a:pt x="509" y="1059"/>
                  </a:cubicBezTo>
                  <a:cubicBezTo>
                    <a:pt x="513" y="1113"/>
                    <a:pt x="519" y="1164"/>
                    <a:pt x="524" y="1216"/>
                  </a:cubicBezTo>
                  <a:cubicBezTo>
                    <a:pt x="546" y="1220"/>
                    <a:pt x="569" y="1221"/>
                    <a:pt x="593" y="1223"/>
                  </a:cubicBezTo>
                  <a:lnTo>
                    <a:pt x="629" y="1223"/>
                  </a:lnTo>
                  <a:cubicBezTo>
                    <a:pt x="655" y="1221"/>
                    <a:pt x="681" y="1219"/>
                    <a:pt x="707" y="1215"/>
                  </a:cubicBezTo>
                  <a:cubicBezTo>
                    <a:pt x="712" y="1163"/>
                    <a:pt x="719" y="1110"/>
                    <a:pt x="723" y="1056"/>
                  </a:cubicBezTo>
                  <a:cubicBezTo>
                    <a:pt x="730" y="1055"/>
                    <a:pt x="738" y="1053"/>
                    <a:pt x="745" y="1051"/>
                  </a:cubicBezTo>
                  <a:cubicBezTo>
                    <a:pt x="766" y="1045"/>
                    <a:pt x="786" y="1038"/>
                    <a:pt x="806" y="1028"/>
                  </a:cubicBezTo>
                  <a:cubicBezTo>
                    <a:pt x="823" y="1020"/>
                    <a:pt x="840" y="1011"/>
                    <a:pt x="856" y="1000"/>
                  </a:cubicBezTo>
                  <a:cubicBezTo>
                    <a:pt x="856" y="1000"/>
                    <a:pt x="857" y="1000"/>
                    <a:pt x="859" y="1001"/>
                  </a:cubicBezTo>
                  <a:cubicBezTo>
                    <a:pt x="899" y="1035"/>
                    <a:pt x="939" y="1068"/>
                    <a:pt x="981" y="1101"/>
                  </a:cubicBezTo>
                  <a:cubicBezTo>
                    <a:pt x="989" y="1095"/>
                    <a:pt x="996" y="1089"/>
                    <a:pt x="1003" y="1084"/>
                  </a:cubicBezTo>
                  <a:cubicBezTo>
                    <a:pt x="1018" y="1070"/>
                    <a:pt x="1032" y="1058"/>
                    <a:pt x="1046" y="1043"/>
                  </a:cubicBezTo>
                  <a:cubicBezTo>
                    <a:pt x="1068" y="1020"/>
                    <a:pt x="1089" y="995"/>
                    <a:pt x="1107" y="969"/>
                  </a:cubicBezTo>
                  <a:cubicBezTo>
                    <a:pt x="1075" y="928"/>
                    <a:pt x="1041" y="888"/>
                    <a:pt x="1007" y="848"/>
                  </a:cubicBezTo>
                  <a:cubicBezTo>
                    <a:pt x="1006" y="848"/>
                    <a:pt x="1006" y="846"/>
                    <a:pt x="1006" y="846"/>
                  </a:cubicBezTo>
                  <a:cubicBezTo>
                    <a:pt x="1015" y="833"/>
                    <a:pt x="1021" y="819"/>
                    <a:pt x="1029" y="805"/>
                  </a:cubicBezTo>
                  <a:cubicBezTo>
                    <a:pt x="1037" y="786"/>
                    <a:pt x="1045" y="766"/>
                    <a:pt x="1051" y="746"/>
                  </a:cubicBezTo>
                  <a:cubicBezTo>
                    <a:pt x="1051" y="744"/>
                    <a:pt x="1053" y="741"/>
                    <a:pt x="1053" y="740"/>
                  </a:cubicBezTo>
                  <a:cubicBezTo>
                    <a:pt x="1055" y="733"/>
                    <a:pt x="1056" y="725"/>
                    <a:pt x="1059" y="719"/>
                  </a:cubicBezTo>
                  <a:cubicBezTo>
                    <a:pt x="1111" y="714"/>
                    <a:pt x="1164" y="709"/>
                    <a:pt x="1216" y="704"/>
                  </a:cubicBezTo>
                  <a:cubicBezTo>
                    <a:pt x="1220" y="680"/>
                    <a:pt x="1221" y="655"/>
                    <a:pt x="1223" y="630"/>
                  </a:cubicBezTo>
                  <a:lnTo>
                    <a:pt x="1223" y="611"/>
                  </a:lnTo>
                  <a:lnTo>
                    <a:pt x="1223" y="593"/>
                  </a:lnTo>
                  <a:cubicBezTo>
                    <a:pt x="1221" y="568"/>
                    <a:pt x="1220" y="543"/>
                    <a:pt x="1216" y="519"/>
                  </a:cubicBezTo>
                  <a:cubicBezTo>
                    <a:pt x="1164" y="514"/>
                    <a:pt x="1111" y="509"/>
                    <a:pt x="1059" y="504"/>
                  </a:cubicBezTo>
                  <a:cubicBezTo>
                    <a:pt x="1056" y="498"/>
                    <a:pt x="1055" y="490"/>
                    <a:pt x="1053" y="483"/>
                  </a:cubicBezTo>
                  <a:cubicBezTo>
                    <a:pt x="1046" y="460"/>
                    <a:pt x="1038" y="439"/>
                    <a:pt x="1029" y="418"/>
                  </a:cubicBezTo>
                  <a:cubicBezTo>
                    <a:pt x="1021" y="401"/>
                    <a:pt x="1013" y="386"/>
                    <a:pt x="1004" y="373"/>
                  </a:cubicBezTo>
                  <a:close/>
                  <a:moveTo>
                    <a:pt x="615" y="385"/>
                  </a:moveTo>
                  <a:cubicBezTo>
                    <a:pt x="676" y="385"/>
                    <a:pt x="729" y="406"/>
                    <a:pt x="774" y="450"/>
                  </a:cubicBezTo>
                  <a:cubicBezTo>
                    <a:pt x="818" y="494"/>
                    <a:pt x="839" y="546"/>
                    <a:pt x="839" y="609"/>
                  </a:cubicBezTo>
                  <a:cubicBezTo>
                    <a:pt x="839" y="670"/>
                    <a:pt x="818" y="723"/>
                    <a:pt x="774" y="768"/>
                  </a:cubicBezTo>
                  <a:cubicBezTo>
                    <a:pt x="729" y="811"/>
                    <a:pt x="676" y="833"/>
                    <a:pt x="615" y="833"/>
                  </a:cubicBezTo>
                  <a:cubicBezTo>
                    <a:pt x="553" y="833"/>
                    <a:pt x="500" y="811"/>
                    <a:pt x="456" y="768"/>
                  </a:cubicBezTo>
                  <a:cubicBezTo>
                    <a:pt x="413" y="723"/>
                    <a:pt x="390" y="670"/>
                    <a:pt x="390" y="609"/>
                  </a:cubicBezTo>
                  <a:cubicBezTo>
                    <a:pt x="390" y="546"/>
                    <a:pt x="413" y="494"/>
                    <a:pt x="456" y="450"/>
                  </a:cubicBezTo>
                  <a:cubicBezTo>
                    <a:pt x="500" y="406"/>
                    <a:pt x="553" y="385"/>
                    <a:pt x="615" y="38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Gear">
              <a:extLst>
                <a:ext uri="{FF2B5EF4-FFF2-40B4-BE49-F238E27FC236}">
                  <a16:creationId xmlns:a16="http://schemas.microsoft.com/office/drawing/2014/main" id="{1EEC4A71-9B74-A1E2-825A-E016BA5863C2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174" y="171"/>
              <a:ext cx="150" cy="150"/>
            </a:xfrm>
            <a:custGeom>
              <a:avLst/>
              <a:gdLst>
                <a:gd name="T0" fmla="*/ 328 w 384"/>
                <a:gd name="T1" fmla="*/ 56 h 384"/>
                <a:gd name="T2" fmla="*/ 191 w 384"/>
                <a:gd name="T3" fmla="*/ 0 h 384"/>
                <a:gd name="T4" fmla="*/ 55 w 384"/>
                <a:gd name="T5" fmla="*/ 56 h 384"/>
                <a:gd name="T6" fmla="*/ 0 w 384"/>
                <a:gd name="T7" fmla="*/ 193 h 384"/>
                <a:gd name="T8" fmla="*/ 55 w 384"/>
                <a:gd name="T9" fmla="*/ 328 h 384"/>
                <a:gd name="T10" fmla="*/ 56 w 384"/>
                <a:gd name="T11" fmla="*/ 328 h 384"/>
                <a:gd name="T12" fmla="*/ 191 w 384"/>
                <a:gd name="T13" fmla="*/ 384 h 384"/>
                <a:gd name="T14" fmla="*/ 328 w 384"/>
                <a:gd name="T15" fmla="*/ 328 h 384"/>
                <a:gd name="T16" fmla="*/ 328 w 384"/>
                <a:gd name="T17" fmla="*/ 328 h 384"/>
                <a:gd name="T18" fmla="*/ 384 w 384"/>
                <a:gd name="T19" fmla="*/ 193 h 384"/>
                <a:gd name="T20" fmla="*/ 384 w 384"/>
                <a:gd name="T21" fmla="*/ 193 h 384"/>
                <a:gd name="T22" fmla="*/ 328 w 384"/>
                <a:gd name="T23" fmla="*/ 56 h 384"/>
                <a:gd name="T24" fmla="*/ 191 w 384"/>
                <a:gd name="T25" fmla="*/ 49 h 384"/>
                <a:gd name="T26" fmla="*/ 294 w 384"/>
                <a:gd name="T27" fmla="*/ 92 h 384"/>
                <a:gd name="T28" fmla="*/ 335 w 384"/>
                <a:gd name="T29" fmla="*/ 193 h 384"/>
                <a:gd name="T30" fmla="*/ 335 w 384"/>
                <a:gd name="T31" fmla="*/ 193 h 384"/>
                <a:gd name="T32" fmla="*/ 294 w 384"/>
                <a:gd name="T33" fmla="*/ 294 h 384"/>
                <a:gd name="T34" fmla="*/ 294 w 384"/>
                <a:gd name="T35" fmla="*/ 294 h 384"/>
                <a:gd name="T36" fmla="*/ 191 w 384"/>
                <a:gd name="T37" fmla="*/ 337 h 384"/>
                <a:gd name="T38" fmla="*/ 90 w 384"/>
                <a:gd name="T39" fmla="*/ 294 h 384"/>
                <a:gd name="T40" fmla="*/ 90 w 384"/>
                <a:gd name="T41" fmla="*/ 294 h 384"/>
                <a:gd name="T42" fmla="*/ 47 w 384"/>
                <a:gd name="T43" fmla="*/ 193 h 384"/>
                <a:gd name="T44" fmla="*/ 90 w 384"/>
                <a:gd name="T45" fmla="*/ 92 h 384"/>
                <a:gd name="T46" fmla="*/ 191 w 384"/>
                <a:gd name="T47" fmla="*/ 49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4" h="384">
                  <a:moveTo>
                    <a:pt x="328" y="56"/>
                  </a:moveTo>
                  <a:cubicBezTo>
                    <a:pt x="290" y="19"/>
                    <a:pt x="245" y="0"/>
                    <a:pt x="191" y="0"/>
                  </a:cubicBezTo>
                  <a:cubicBezTo>
                    <a:pt x="139" y="0"/>
                    <a:pt x="93" y="19"/>
                    <a:pt x="55" y="56"/>
                  </a:cubicBezTo>
                  <a:cubicBezTo>
                    <a:pt x="19" y="94"/>
                    <a:pt x="0" y="139"/>
                    <a:pt x="0" y="193"/>
                  </a:cubicBezTo>
                  <a:cubicBezTo>
                    <a:pt x="0" y="245"/>
                    <a:pt x="19" y="290"/>
                    <a:pt x="55" y="328"/>
                  </a:cubicBezTo>
                  <a:lnTo>
                    <a:pt x="56" y="328"/>
                  </a:lnTo>
                  <a:cubicBezTo>
                    <a:pt x="94" y="365"/>
                    <a:pt x="139" y="384"/>
                    <a:pt x="191" y="384"/>
                  </a:cubicBezTo>
                  <a:cubicBezTo>
                    <a:pt x="245" y="384"/>
                    <a:pt x="290" y="365"/>
                    <a:pt x="328" y="328"/>
                  </a:cubicBezTo>
                  <a:lnTo>
                    <a:pt x="328" y="328"/>
                  </a:lnTo>
                  <a:cubicBezTo>
                    <a:pt x="365" y="290"/>
                    <a:pt x="384" y="245"/>
                    <a:pt x="384" y="193"/>
                  </a:cubicBezTo>
                  <a:lnTo>
                    <a:pt x="384" y="193"/>
                  </a:lnTo>
                  <a:cubicBezTo>
                    <a:pt x="384" y="139"/>
                    <a:pt x="365" y="94"/>
                    <a:pt x="328" y="56"/>
                  </a:cubicBezTo>
                  <a:close/>
                  <a:moveTo>
                    <a:pt x="191" y="49"/>
                  </a:moveTo>
                  <a:cubicBezTo>
                    <a:pt x="231" y="49"/>
                    <a:pt x="265" y="63"/>
                    <a:pt x="294" y="92"/>
                  </a:cubicBezTo>
                  <a:cubicBezTo>
                    <a:pt x="321" y="119"/>
                    <a:pt x="335" y="153"/>
                    <a:pt x="335" y="193"/>
                  </a:cubicBezTo>
                  <a:lnTo>
                    <a:pt x="335" y="193"/>
                  </a:lnTo>
                  <a:cubicBezTo>
                    <a:pt x="335" y="233"/>
                    <a:pt x="321" y="265"/>
                    <a:pt x="294" y="294"/>
                  </a:cubicBezTo>
                  <a:lnTo>
                    <a:pt x="294" y="294"/>
                  </a:lnTo>
                  <a:cubicBezTo>
                    <a:pt x="265" y="322"/>
                    <a:pt x="231" y="337"/>
                    <a:pt x="191" y="337"/>
                  </a:cubicBezTo>
                  <a:cubicBezTo>
                    <a:pt x="153" y="337"/>
                    <a:pt x="118" y="322"/>
                    <a:pt x="90" y="294"/>
                  </a:cubicBezTo>
                  <a:lnTo>
                    <a:pt x="90" y="294"/>
                  </a:lnTo>
                  <a:cubicBezTo>
                    <a:pt x="61" y="265"/>
                    <a:pt x="47" y="232"/>
                    <a:pt x="47" y="193"/>
                  </a:cubicBezTo>
                  <a:cubicBezTo>
                    <a:pt x="47" y="153"/>
                    <a:pt x="61" y="119"/>
                    <a:pt x="90" y="92"/>
                  </a:cubicBezTo>
                  <a:cubicBezTo>
                    <a:pt x="118" y="63"/>
                    <a:pt x="153" y="49"/>
                    <a:pt x="191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D2CE0E7B-A30A-71EA-74B8-D9473951E9A7}"/>
              </a:ext>
            </a:extLst>
          </p:cNvPr>
          <p:cNvSpPr txBox="1"/>
          <p:nvPr/>
        </p:nvSpPr>
        <p:spPr>
          <a:xfrm>
            <a:off x="2884853" y="2403564"/>
            <a:ext cx="1875127" cy="1404458"/>
          </a:xfrm>
          <a:prstGeom prst="rect">
            <a:avLst/>
          </a:prstGeom>
          <a:noFill/>
        </p:spPr>
        <p:txBody>
          <a:bodyPr wrap="square" rtlCol="0">
            <a:prstTxWarp prst="textArchUp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Rajdhani bold" panose="02000000000000000000" pitchFamily="2" charset="0"/>
                <a:ea typeface="Open Sans" pitchFamily="2" charset="0"/>
                <a:cs typeface="Rajdhani bold" panose="02000000000000000000" pitchFamily="2" charset="0"/>
              </a:rPr>
              <a:t>BUSINESS HEADING</a:t>
            </a:r>
            <a:endParaRPr lang="en-IN" b="1" dirty="0">
              <a:solidFill>
                <a:schemeClr val="tx1">
                  <a:lumMod val="75000"/>
                  <a:lumOff val="25000"/>
                </a:schemeClr>
              </a:solidFill>
              <a:latin typeface="Rajdhani bold" panose="02000000000000000000" pitchFamily="2" charset="0"/>
              <a:ea typeface="Open Sans" pitchFamily="2" charset="0"/>
              <a:cs typeface="Rajdhani bold" panose="02000000000000000000" pitchFamily="2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DDE3665E-9672-A537-6029-0E0109597418}"/>
              </a:ext>
            </a:extLst>
          </p:cNvPr>
          <p:cNvSpPr txBox="1"/>
          <p:nvPr/>
        </p:nvSpPr>
        <p:spPr>
          <a:xfrm rot="1180003">
            <a:off x="3536187" y="902324"/>
            <a:ext cx="1814733" cy="1136191"/>
          </a:xfrm>
          <a:prstGeom prst="rect">
            <a:avLst/>
          </a:prstGeom>
          <a:noFill/>
        </p:spPr>
        <p:txBody>
          <a:bodyPr wrap="square" rtlCol="0">
            <a:prstTxWarp prst="textArchUp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Rajdhani bold" panose="02000000000000000000" pitchFamily="2" charset="0"/>
                <a:ea typeface="Open Sans" pitchFamily="2" charset="0"/>
                <a:cs typeface="Rajdhani bold" panose="02000000000000000000" pitchFamily="2" charset="0"/>
              </a:rPr>
              <a:t>STEP 01</a:t>
            </a:r>
            <a:endParaRPr lang="en-IN" b="1" dirty="0">
              <a:solidFill>
                <a:schemeClr val="bg1"/>
              </a:solidFill>
              <a:latin typeface="Rajdhani bold" panose="02000000000000000000" pitchFamily="2" charset="0"/>
              <a:ea typeface="Open Sans" pitchFamily="2" charset="0"/>
              <a:cs typeface="Rajdhani bold" panose="02000000000000000000" pitchFamily="2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C0C813D-C93A-2A66-0F8C-FC1695ACD4C1}"/>
              </a:ext>
            </a:extLst>
          </p:cNvPr>
          <p:cNvSpPr txBox="1"/>
          <p:nvPr/>
        </p:nvSpPr>
        <p:spPr>
          <a:xfrm rot="3257959">
            <a:off x="4581815" y="1650784"/>
            <a:ext cx="1814733" cy="1136191"/>
          </a:xfrm>
          <a:prstGeom prst="rect">
            <a:avLst/>
          </a:prstGeom>
          <a:noFill/>
        </p:spPr>
        <p:txBody>
          <a:bodyPr wrap="square" rtlCol="0">
            <a:prstTxWarp prst="textArchUp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Rajdhani bold" panose="02000000000000000000" pitchFamily="2" charset="0"/>
                <a:ea typeface="Open Sans" pitchFamily="2" charset="0"/>
                <a:cs typeface="Rajdhani bold" panose="02000000000000000000" pitchFamily="2" charset="0"/>
              </a:rPr>
              <a:t>STEP 02</a:t>
            </a:r>
            <a:endParaRPr lang="en-IN" b="1" dirty="0">
              <a:solidFill>
                <a:schemeClr val="bg1"/>
              </a:solidFill>
              <a:latin typeface="Rajdhani bold" panose="02000000000000000000" pitchFamily="2" charset="0"/>
              <a:ea typeface="Open Sans" pitchFamily="2" charset="0"/>
              <a:cs typeface="Rajdhani bold" panose="02000000000000000000" pitchFamily="2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439B3FD5-99DF-B7A9-0A81-125B567EE6DD}"/>
              </a:ext>
            </a:extLst>
          </p:cNvPr>
          <p:cNvSpPr txBox="1"/>
          <p:nvPr/>
        </p:nvSpPr>
        <p:spPr>
          <a:xfrm rot="5400000">
            <a:off x="4973080" y="2859926"/>
            <a:ext cx="1814733" cy="1136191"/>
          </a:xfrm>
          <a:prstGeom prst="rect">
            <a:avLst/>
          </a:prstGeom>
          <a:noFill/>
        </p:spPr>
        <p:txBody>
          <a:bodyPr wrap="square" rtlCol="0">
            <a:prstTxWarp prst="textArchUp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Rajdhani bold" panose="02000000000000000000" pitchFamily="2" charset="0"/>
                <a:ea typeface="Open Sans" pitchFamily="2" charset="0"/>
                <a:cs typeface="Rajdhani bold" panose="02000000000000000000" pitchFamily="2" charset="0"/>
              </a:rPr>
              <a:t>STEP 03</a:t>
            </a:r>
            <a:endParaRPr lang="en-IN" b="1" dirty="0">
              <a:solidFill>
                <a:schemeClr val="bg1"/>
              </a:solidFill>
              <a:latin typeface="Rajdhani bold" panose="02000000000000000000" pitchFamily="2" charset="0"/>
              <a:ea typeface="Open Sans" pitchFamily="2" charset="0"/>
              <a:cs typeface="Rajdhani bold" panose="02000000000000000000" pitchFamily="2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93D87AA-3631-5175-C67B-14FB21B4010D}"/>
              </a:ext>
            </a:extLst>
          </p:cNvPr>
          <p:cNvSpPr txBox="1"/>
          <p:nvPr/>
        </p:nvSpPr>
        <p:spPr>
          <a:xfrm rot="9708164">
            <a:off x="3525514" y="4834748"/>
            <a:ext cx="1814733" cy="1136191"/>
          </a:xfrm>
          <a:prstGeom prst="rect">
            <a:avLst/>
          </a:prstGeom>
          <a:noFill/>
        </p:spPr>
        <p:txBody>
          <a:bodyPr wrap="square" rtlCol="0">
            <a:prstTxWarp prst="textArchUp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Rajdhani bold" panose="02000000000000000000" pitchFamily="2" charset="0"/>
                <a:ea typeface="Open Sans" pitchFamily="2" charset="0"/>
                <a:cs typeface="Rajdhani bold" panose="02000000000000000000" pitchFamily="2" charset="0"/>
              </a:rPr>
              <a:t>STEP 05</a:t>
            </a:r>
            <a:endParaRPr lang="en-IN" b="1" dirty="0">
              <a:solidFill>
                <a:schemeClr val="bg1"/>
              </a:solidFill>
              <a:latin typeface="Rajdhani bold" panose="02000000000000000000" pitchFamily="2" charset="0"/>
              <a:ea typeface="Open Sans" pitchFamily="2" charset="0"/>
              <a:cs typeface="Rajdhani bold" panose="02000000000000000000" pitchFamily="2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404D69E-71D0-DBDF-96F4-9F6BD183BADA}"/>
              </a:ext>
            </a:extLst>
          </p:cNvPr>
          <p:cNvSpPr txBox="1"/>
          <p:nvPr/>
        </p:nvSpPr>
        <p:spPr>
          <a:xfrm rot="7652792">
            <a:off x="4613120" y="4056017"/>
            <a:ext cx="1814733" cy="1136191"/>
          </a:xfrm>
          <a:prstGeom prst="rect">
            <a:avLst/>
          </a:prstGeom>
          <a:noFill/>
        </p:spPr>
        <p:txBody>
          <a:bodyPr wrap="square" rtlCol="0">
            <a:prstTxWarp prst="textArchUp">
              <a:avLst/>
            </a:prstTxWarp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Rajdhani bold" panose="02000000000000000000" pitchFamily="2" charset="0"/>
                <a:ea typeface="Open Sans" pitchFamily="2" charset="0"/>
                <a:cs typeface="Rajdhani bold" panose="02000000000000000000" pitchFamily="2" charset="0"/>
              </a:rPr>
              <a:t>STEP 04</a:t>
            </a:r>
            <a:endParaRPr lang="en-IN" b="1" dirty="0">
              <a:solidFill>
                <a:schemeClr val="bg1"/>
              </a:solidFill>
              <a:latin typeface="Rajdhani bold" panose="02000000000000000000" pitchFamily="2" charset="0"/>
              <a:ea typeface="Open Sans" pitchFamily="2" charset="0"/>
              <a:cs typeface="Rajdhani bold" panose="02000000000000000000" pitchFamily="2" charset="0"/>
            </a:endParaRPr>
          </a:p>
        </p:txBody>
      </p:sp>
      <p:pic>
        <p:nvPicPr>
          <p:cNvPr id="102" name="Graphic 101" descr="Aspiration with solid fill">
            <a:extLst>
              <a:ext uri="{FF2B5EF4-FFF2-40B4-BE49-F238E27FC236}">
                <a16:creationId xmlns:a16="http://schemas.microsoft.com/office/drawing/2014/main" id="{97E2BF59-5CC9-1901-D4A9-652CEA3B22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08680" y="4814844"/>
            <a:ext cx="469746" cy="469746"/>
          </a:xfrm>
          <a:prstGeom prst="rect">
            <a:avLst/>
          </a:prstGeom>
        </p:spPr>
      </p:pic>
      <p:pic>
        <p:nvPicPr>
          <p:cNvPr id="104" name="Graphic 103" descr="Gantt Chart with solid fill">
            <a:extLst>
              <a:ext uri="{FF2B5EF4-FFF2-40B4-BE49-F238E27FC236}">
                <a16:creationId xmlns:a16="http://schemas.microsoft.com/office/drawing/2014/main" id="{4BFF8434-11D5-99DD-5888-F2536776329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17462" y="4114479"/>
            <a:ext cx="469746" cy="469746"/>
          </a:xfrm>
          <a:prstGeom prst="rect">
            <a:avLst/>
          </a:prstGeom>
        </p:spPr>
      </p:pic>
      <p:pic>
        <p:nvPicPr>
          <p:cNvPr id="106" name="Graphic 105" descr="Cheers with solid fill">
            <a:extLst>
              <a:ext uri="{FF2B5EF4-FFF2-40B4-BE49-F238E27FC236}">
                <a16:creationId xmlns:a16="http://schemas.microsoft.com/office/drawing/2014/main" id="{84B2FBAC-861E-3193-D622-22292B97ACD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96914" y="2941047"/>
            <a:ext cx="469746" cy="469746"/>
          </a:xfrm>
          <a:prstGeom prst="rect">
            <a:avLst/>
          </a:prstGeom>
        </p:spPr>
      </p:pic>
      <p:pic>
        <p:nvPicPr>
          <p:cNvPr id="108" name="Graphic 107" descr="Clipboard with solid fill">
            <a:extLst>
              <a:ext uri="{FF2B5EF4-FFF2-40B4-BE49-F238E27FC236}">
                <a16:creationId xmlns:a16="http://schemas.microsoft.com/office/drawing/2014/main" id="{FE88F293-ECB2-D4A8-60F1-91D208244D8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147312" y="1760698"/>
            <a:ext cx="469746" cy="469746"/>
          </a:xfrm>
          <a:prstGeom prst="rect">
            <a:avLst/>
          </a:prstGeom>
        </p:spPr>
      </p:pic>
      <p:pic>
        <p:nvPicPr>
          <p:cNvPr id="110" name="Graphic 109" descr="Lightbulb and gear with solid fill">
            <a:extLst>
              <a:ext uri="{FF2B5EF4-FFF2-40B4-BE49-F238E27FC236}">
                <a16:creationId xmlns:a16="http://schemas.microsoft.com/office/drawing/2014/main" id="{03EC1C83-A473-6809-412B-D64B52A746B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137824" y="1055651"/>
            <a:ext cx="469746" cy="469746"/>
          </a:xfrm>
          <a:prstGeom prst="rect">
            <a:avLst/>
          </a:prstGeom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CAE31DC4-DB31-5898-35DE-7BB201F3977A}"/>
              </a:ext>
            </a:extLst>
          </p:cNvPr>
          <p:cNvSpPr txBox="1"/>
          <p:nvPr/>
        </p:nvSpPr>
        <p:spPr>
          <a:xfrm>
            <a:off x="4025422" y="1588781"/>
            <a:ext cx="76278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TITLE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Rajdhani bold" panose="02000000000000000000" pitchFamily="2" charset="0"/>
              <a:cs typeface="Rajdhani bold" panose="02000000000000000000" pitchFamily="2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2F989E3-1B22-318E-17FD-910C9E33331C}"/>
              </a:ext>
            </a:extLst>
          </p:cNvPr>
          <p:cNvSpPr txBox="1"/>
          <p:nvPr/>
        </p:nvSpPr>
        <p:spPr>
          <a:xfrm>
            <a:off x="5006684" y="2298639"/>
            <a:ext cx="76278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TITLE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Rajdhani bold" panose="02000000000000000000" pitchFamily="2" charset="0"/>
              <a:cs typeface="Rajdhani bold" panose="02000000000000000000" pitchFamily="2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DBB18D04-D639-6AE3-E4C3-AEEB1C081FBD}"/>
              </a:ext>
            </a:extLst>
          </p:cNvPr>
          <p:cNvSpPr txBox="1"/>
          <p:nvPr/>
        </p:nvSpPr>
        <p:spPr>
          <a:xfrm>
            <a:off x="5357819" y="3469227"/>
            <a:ext cx="76278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TITLE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Rajdhani bold" panose="02000000000000000000" pitchFamily="2" charset="0"/>
              <a:cs typeface="Rajdhani bold" panose="02000000000000000000" pitchFamily="2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08A07F7E-3580-20C0-14A1-8BAEE2521E13}"/>
              </a:ext>
            </a:extLst>
          </p:cNvPr>
          <p:cNvSpPr txBox="1"/>
          <p:nvPr/>
        </p:nvSpPr>
        <p:spPr>
          <a:xfrm>
            <a:off x="5024943" y="4640004"/>
            <a:ext cx="76278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TITLE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Rajdhani bold" panose="02000000000000000000" pitchFamily="2" charset="0"/>
              <a:cs typeface="Rajdhani bold" panose="02000000000000000000" pitchFamily="2" charset="0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00BD7798-3755-0C6D-E206-7B30BC58B76A}"/>
              </a:ext>
            </a:extLst>
          </p:cNvPr>
          <p:cNvSpPr txBox="1"/>
          <p:nvPr/>
        </p:nvSpPr>
        <p:spPr>
          <a:xfrm>
            <a:off x="3996087" y="5324538"/>
            <a:ext cx="76278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TITLE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Rajdhani bold" panose="02000000000000000000" pitchFamily="2" charset="0"/>
              <a:cs typeface="Rajdhani bold" panose="02000000000000000000" pitchFamily="2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CA5F5795-536C-A8B6-80CC-21823C921CCA}"/>
              </a:ext>
            </a:extLst>
          </p:cNvPr>
          <p:cNvSpPr txBox="1"/>
          <p:nvPr/>
        </p:nvSpPr>
        <p:spPr>
          <a:xfrm>
            <a:off x="6267477" y="152044"/>
            <a:ext cx="1934111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HEADING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Rajdhani bold" panose="02000000000000000000" pitchFamily="2" charset="0"/>
              <a:cs typeface="Rajdhani bold" panose="02000000000000000000" pitchFamily="2" charset="0"/>
            </a:endParaRPr>
          </a:p>
          <a:p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Economica" panose="02000506040000020004" pitchFamily="2" charset="0"/>
              </a:rPr>
              <a:t>Some text goes here. Some text goes here. Some text goes here. Some text goes here. Some text goes here.</a:t>
            </a:r>
            <a:endParaRPr lang="en-IN" sz="900" dirty="0">
              <a:solidFill>
                <a:schemeClr val="tx1">
                  <a:lumMod val="65000"/>
                  <a:lumOff val="35000"/>
                </a:schemeClr>
              </a:solidFill>
              <a:latin typeface="Economica" panose="02000506040000020004" pitchFamily="2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8522CA42-2A6C-0611-4E37-24CF9741EF68}"/>
              </a:ext>
            </a:extLst>
          </p:cNvPr>
          <p:cNvSpPr txBox="1"/>
          <p:nvPr/>
        </p:nvSpPr>
        <p:spPr>
          <a:xfrm>
            <a:off x="7580438" y="1083241"/>
            <a:ext cx="1934111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HEADING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Rajdhani bold" panose="02000000000000000000" pitchFamily="2" charset="0"/>
              <a:cs typeface="Rajdhani bold" panose="02000000000000000000" pitchFamily="2" charset="0"/>
            </a:endParaRPr>
          </a:p>
          <a:p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Economica" panose="02000506040000020004" pitchFamily="2" charset="0"/>
              </a:rPr>
              <a:t>Some text goes here. Some text goes here. Some text goes here. Some text goes here. Some text goes here.</a:t>
            </a:r>
            <a:endParaRPr lang="en-IN" sz="900" dirty="0">
              <a:solidFill>
                <a:schemeClr val="tx1">
                  <a:lumMod val="65000"/>
                  <a:lumOff val="35000"/>
                </a:schemeClr>
              </a:solidFill>
              <a:latin typeface="Economica" panose="02000506040000020004" pitchFamily="2" charset="0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2D161CB3-1CF5-EB2F-5512-566D440F2784}"/>
              </a:ext>
            </a:extLst>
          </p:cNvPr>
          <p:cNvSpPr txBox="1"/>
          <p:nvPr/>
        </p:nvSpPr>
        <p:spPr>
          <a:xfrm>
            <a:off x="7989076" y="3083149"/>
            <a:ext cx="1934111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HEADING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Rajdhani bold" panose="02000000000000000000" pitchFamily="2" charset="0"/>
              <a:cs typeface="Rajdhani bold" panose="02000000000000000000" pitchFamily="2" charset="0"/>
            </a:endParaRPr>
          </a:p>
          <a:p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Economica" panose="02000506040000020004" pitchFamily="2" charset="0"/>
              </a:rPr>
              <a:t>Some text goes here. Some text goes here. Some text goes here. Some text goes here. Some text goes here.</a:t>
            </a:r>
            <a:endParaRPr lang="en-IN" sz="900" dirty="0">
              <a:solidFill>
                <a:schemeClr val="tx1">
                  <a:lumMod val="65000"/>
                  <a:lumOff val="35000"/>
                </a:schemeClr>
              </a:solidFill>
              <a:latin typeface="Economica" panose="02000506040000020004" pitchFamily="2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D4133CC1-5D60-6AF5-02C0-CD3475207F0A}"/>
              </a:ext>
            </a:extLst>
          </p:cNvPr>
          <p:cNvSpPr txBox="1"/>
          <p:nvPr/>
        </p:nvSpPr>
        <p:spPr>
          <a:xfrm>
            <a:off x="7571141" y="5167957"/>
            <a:ext cx="1934111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HEADING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Rajdhani bold" panose="02000000000000000000" pitchFamily="2" charset="0"/>
              <a:cs typeface="Rajdhani bold" panose="02000000000000000000" pitchFamily="2" charset="0"/>
            </a:endParaRPr>
          </a:p>
          <a:p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Economica" panose="02000506040000020004" pitchFamily="2" charset="0"/>
              </a:rPr>
              <a:t>Some text goes here. Some text goes here. Some text goes here. Some text goes here. Some text goes here.</a:t>
            </a:r>
            <a:endParaRPr lang="en-IN" sz="900" dirty="0">
              <a:solidFill>
                <a:schemeClr val="tx1">
                  <a:lumMod val="65000"/>
                  <a:lumOff val="35000"/>
                </a:schemeClr>
              </a:solidFill>
              <a:latin typeface="Economica" panose="02000506040000020004" pitchFamily="2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15743B82-8A04-E360-F251-7BF20C21E1FA}"/>
              </a:ext>
            </a:extLst>
          </p:cNvPr>
          <p:cNvSpPr txBox="1"/>
          <p:nvPr/>
        </p:nvSpPr>
        <p:spPr>
          <a:xfrm>
            <a:off x="6256337" y="6047667"/>
            <a:ext cx="1934111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pc="300" dirty="0">
                <a:solidFill>
                  <a:schemeClr val="tx1">
                    <a:lumMod val="65000"/>
                    <a:lumOff val="35000"/>
                  </a:schemeClr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HEADING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Rajdhani bold" panose="02000000000000000000" pitchFamily="2" charset="0"/>
              <a:cs typeface="Rajdhani bold" panose="02000000000000000000" pitchFamily="2" charset="0"/>
            </a:endParaRPr>
          </a:p>
          <a:p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Economica" panose="02000506040000020004" pitchFamily="2" charset="0"/>
              </a:rPr>
              <a:t>Some text goes here. Some text goes here. Some text goes here. Some text goes here. Some text goes here.</a:t>
            </a:r>
            <a:endParaRPr lang="en-IN" sz="900" dirty="0">
              <a:solidFill>
                <a:schemeClr val="tx1">
                  <a:lumMod val="65000"/>
                  <a:lumOff val="35000"/>
                </a:schemeClr>
              </a:solidFill>
              <a:latin typeface="Economica" panose="02000506040000020004" pitchFamily="2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475F436D-5336-67CD-A8A8-E9D856FEB0B9}"/>
              </a:ext>
            </a:extLst>
          </p:cNvPr>
          <p:cNvSpPr txBox="1"/>
          <p:nvPr/>
        </p:nvSpPr>
        <p:spPr>
          <a:xfrm>
            <a:off x="322729" y="423112"/>
            <a:ext cx="304175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spc="300" dirty="0">
                <a:solidFill>
                  <a:schemeClr val="tx1">
                    <a:lumMod val="75000"/>
                    <a:lumOff val="25000"/>
                  </a:schemeClr>
                </a:solidFill>
                <a:latin typeface="Rajdhani bold" panose="02000000000000000000" pitchFamily="2" charset="0"/>
                <a:cs typeface="Rajdhani bold" panose="02000000000000000000" pitchFamily="2" charset="0"/>
              </a:rPr>
              <a:t>5 Step Circular Infographic</a:t>
            </a:r>
            <a:endParaRPr lang="en-US" sz="2800" b="1" dirty="0">
              <a:solidFill>
                <a:schemeClr val="tx1">
                  <a:lumMod val="75000"/>
                  <a:lumOff val="25000"/>
                </a:schemeClr>
              </a:solidFill>
              <a:latin typeface="Rajdhani bold" panose="02000000000000000000" pitchFamily="2" charset="0"/>
              <a:cs typeface="Rajdhani bold" panose="02000000000000000000" pitchFamily="2" charset="0"/>
            </a:endParaRPr>
          </a:p>
        </p:txBody>
      </p: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0D21B26E-EB6E-2C53-40CC-9A51076BF25F}"/>
              </a:ext>
            </a:extLst>
          </p:cNvPr>
          <p:cNvCxnSpPr>
            <a:cxnSpLocks/>
          </p:cNvCxnSpPr>
          <p:nvPr/>
        </p:nvCxnSpPr>
        <p:spPr>
          <a:xfrm>
            <a:off x="4824058" y="6155991"/>
            <a:ext cx="1392856" cy="307120"/>
          </a:xfrm>
          <a:prstGeom prst="bentConnector3">
            <a:avLst/>
          </a:prstGeom>
          <a:ln w="19050">
            <a:solidFill>
              <a:srgbClr val="42210B"/>
            </a:solidFill>
            <a:prstDash val="dash"/>
            <a:headEnd type="oval"/>
            <a:tailEnd type="oval"/>
          </a:ln>
          <a:effectLst>
            <a:outerShdw blurRad="63500" sx="102000" sy="102000" algn="ctr" rotWithShape="0">
              <a:prstClr val="black">
                <a:alpha val="57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C35CAA1A-72A4-8646-9EA6-347A16796290}"/>
              </a:ext>
            </a:extLst>
          </p:cNvPr>
          <p:cNvCxnSpPr>
            <a:cxnSpLocks/>
          </p:cNvCxnSpPr>
          <p:nvPr/>
        </p:nvCxnSpPr>
        <p:spPr>
          <a:xfrm flipV="1">
            <a:off x="6162483" y="1410454"/>
            <a:ext cx="1392856" cy="307120"/>
          </a:xfrm>
          <a:prstGeom prst="bentConnector3">
            <a:avLst/>
          </a:prstGeom>
          <a:ln w="19050">
            <a:solidFill>
              <a:srgbClr val="A67C52"/>
            </a:solidFill>
            <a:prstDash val="dash"/>
            <a:headEnd type="oval"/>
            <a:tailEnd type="oval"/>
          </a:ln>
          <a:effectLst>
            <a:outerShdw blurRad="63500" sx="102000" sy="102000" algn="ctr" rotWithShape="0">
              <a:prstClr val="black">
                <a:alpha val="57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onnector: Elbow 129">
            <a:extLst>
              <a:ext uri="{FF2B5EF4-FFF2-40B4-BE49-F238E27FC236}">
                <a16:creationId xmlns:a16="http://schemas.microsoft.com/office/drawing/2014/main" id="{91AC4D86-A443-DCE2-7418-129BB1A024C6}"/>
              </a:ext>
            </a:extLst>
          </p:cNvPr>
          <p:cNvCxnSpPr>
            <a:cxnSpLocks/>
          </p:cNvCxnSpPr>
          <p:nvPr/>
        </p:nvCxnSpPr>
        <p:spPr>
          <a:xfrm flipV="1">
            <a:off x="4825839" y="376786"/>
            <a:ext cx="1392856" cy="307120"/>
          </a:xfrm>
          <a:prstGeom prst="bentConnector3">
            <a:avLst/>
          </a:prstGeom>
          <a:ln w="19050">
            <a:solidFill>
              <a:srgbClr val="A67C52"/>
            </a:solidFill>
            <a:prstDash val="dash"/>
            <a:headEnd type="oval"/>
            <a:tailEnd type="oval"/>
          </a:ln>
          <a:effectLst>
            <a:outerShdw blurRad="63500" sx="102000" sy="102000" algn="ctr" rotWithShape="0">
              <a:prstClr val="black">
                <a:alpha val="57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8365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mechani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mechani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mechanic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151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Economica</vt:lpstr>
      <vt:lpstr>Rajdhani bold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werUP with PowerPoint</dc:creator>
  <cp:lastModifiedBy>PowerUP with PowerPoint</cp:lastModifiedBy>
  <cp:revision>7</cp:revision>
  <dcterms:created xsi:type="dcterms:W3CDTF">2022-05-16T16:21:51Z</dcterms:created>
  <dcterms:modified xsi:type="dcterms:W3CDTF">2022-05-17T04:16:01Z</dcterms:modified>
</cp:coreProperties>
</file>